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3.xml" ContentType="application/vnd.openxmlformats-officedocument.drawingml.chartshape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4308" r:id="rId1"/>
  </p:sldMasterIdLst>
  <p:notesMasterIdLst>
    <p:notesMasterId r:id="rId13"/>
  </p:notesMasterIdLst>
  <p:handoutMasterIdLst>
    <p:handoutMasterId r:id="rId14"/>
  </p:handoutMasterIdLst>
  <p:sldIdLst>
    <p:sldId id="2141411398" r:id="rId2"/>
    <p:sldId id="2141411456" r:id="rId3"/>
    <p:sldId id="2141411462" r:id="rId4"/>
    <p:sldId id="2141411460" r:id="rId5"/>
    <p:sldId id="2141411440" r:id="rId6"/>
    <p:sldId id="2141411442" r:id="rId7"/>
    <p:sldId id="2141411444" r:id="rId8"/>
    <p:sldId id="2141411464" r:id="rId9"/>
    <p:sldId id="2141411465" r:id="rId10"/>
    <p:sldId id="2141411455" r:id="rId11"/>
    <p:sldId id="2141411431" r:id="rId12"/>
  </p:sldIdLst>
  <p:sldSz cx="12192000" cy="6858000"/>
  <p:notesSz cx="9929813" cy="6799263"/>
  <p:defaultTextStyle>
    <a:defPPr>
      <a:defRPr lang="ru-RU"/>
    </a:defPPr>
    <a:lvl1pPr marL="0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1pPr>
    <a:lvl2pPr marL="232829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2pPr>
    <a:lvl3pPr marL="465659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3pPr>
    <a:lvl4pPr marL="698488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4pPr>
    <a:lvl5pPr marL="931318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5pPr>
    <a:lvl6pPr marL="1164147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6pPr>
    <a:lvl7pPr marL="1396977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7pPr>
    <a:lvl8pPr marL="1629806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8pPr>
    <a:lvl9pPr marL="1862633" algn="l" defTabSz="465659" rtl="0" eaLnBrk="1" latinLnBrk="0" hangingPunct="1">
      <a:defRPr sz="93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2" orient="horz" pos="829" userDrawn="1">
          <p15:clr>
            <a:srgbClr val="A4A3A4"/>
          </p15:clr>
        </p15:guide>
        <p15:guide id="14" orient="horz" pos="3279" userDrawn="1">
          <p15:clr>
            <a:srgbClr val="A4A3A4"/>
          </p15:clr>
        </p15:guide>
        <p15:guide id="15" orient="horz" pos="4187" userDrawn="1">
          <p15:clr>
            <a:srgbClr val="A4A3A4"/>
          </p15:clr>
        </p15:guide>
        <p15:guide id="16" pos="3689" userDrawn="1">
          <p15:clr>
            <a:srgbClr val="A4A3A4"/>
          </p15:clr>
        </p15:guide>
        <p15:guide id="17" pos="181" userDrawn="1">
          <p15:clr>
            <a:srgbClr val="A4A3A4"/>
          </p15:clr>
        </p15:guide>
        <p15:guide id="18" orient="horz" pos="1101" userDrawn="1">
          <p15:clr>
            <a:srgbClr val="A4A3A4"/>
          </p15:clr>
        </p15:guide>
        <p15:guide id="19" orient="horz" pos="1495" userDrawn="1">
          <p15:clr>
            <a:srgbClr val="A4A3A4"/>
          </p15:clr>
        </p15:guide>
        <p15:guide id="20" orient="horz" pos="1857" userDrawn="1">
          <p15:clr>
            <a:srgbClr val="A4A3A4"/>
          </p15:clr>
        </p15:guide>
        <p15:guide id="21" orient="horz" pos="2220" userDrawn="1">
          <p15:clr>
            <a:srgbClr val="A4A3A4"/>
          </p15:clr>
        </p15:guide>
        <p15:guide id="22" orient="horz" pos="2584" userDrawn="1">
          <p15:clr>
            <a:srgbClr val="A4A3A4"/>
          </p15:clr>
        </p15:guide>
        <p15:guide id="23" orient="horz" pos="2916" userDrawn="1">
          <p15:clr>
            <a:srgbClr val="A4A3A4"/>
          </p15:clr>
        </p15:guide>
        <p15:guide id="24" orient="horz" pos="3612" userDrawn="1">
          <p15:clr>
            <a:srgbClr val="A4A3A4"/>
          </p15:clr>
        </p15:guide>
        <p15:guide id="25" orient="horz" pos="3975" userDrawn="1">
          <p15:clr>
            <a:srgbClr val="A4A3A4"/>
          </p15:clr>
        </p15:guide>
        <p15:guide id="26" pos="40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2" clrIdx="0"/>
  <p:cmAuthor id="2" name="Администратор" initials="А" lastIdx="17" clrIdx="1">
    <p:extLst>
      <p:ext uri="{19B8F6BF-5375-455C-9EA6-DF929625EA0E}">
        <p15:presenceInfo xmlns:p15="http://schemas.microsoft.com/office/powerpoint/2012/main" userId="27776b46a473caf6" providerId="Windows Live"/>
      </p:ext>
    </p:extLst>
  </p:cmAuthor>
  <p:cmAuthor id="3" name="Харитов Максим Дмитриевич" initials="ХМД" lastIdx="13" clrIdx="2">
    <p:extLst>
      <p:ext uri="{19B8F6BF-5375-455C-9EA6-DF929625EA0E}">
        <p15:presenceInfo xmlns:p15="http://schemas.microsoft.com/office/powerpoint/2012/main" userId="S-1-5-21-3821711208-3397069488-3383343344-13152" providerId="AD"/>
      </p:ext>
    </p:extLst>
  </p:cmAuthor>
  <p:cmAuthor id="4" name="Акуленко Дмитрий Михайлович" initials="АДМ" lastIdx="2" clrIdx="4">
    <p:extLst>
      <p:ext uri="{19B8F6BF-5375-455C-9EA6-DF929625EA0E}">
        <p15:presenceInfo xmlns:p15="http://schemas.microsoft.com/office/powerpoint/2012/main" userId="S-1-5-21-3821711208-3397069488-3383343344-344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99"/>
    <a:srgbClr val="FFFFFF"/>
    <a:srgbClr val="00CC99"/>
    <a:srgbClr val="007AFF"/>
    <a:srgbClr val="59D149"/>
    <a:srgbClr val="047EFF"/>
    <a:srgbClr val="4AFFC3"/>
    <a:srgbClr val="39505E"/>
    <a:srgbClr val="FF7900"/>
    <a:srgbClr val="66BA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700" autoAdjust="0"/>
    <p:restoredTop sz="96400" autoAdjust="0"/>
  </p:normalViewPr>
  <p:slideViewPr>
    <p:cSldViewPr snapToGrid="0">
      <p:cViewPr varScale="1">
        <p:scale>
          <a:sx n="97" d="100"/>
          <a:sy n="97" d="100"/>
        </p:scale>
        <p:origin x="114" y="354"/>
      </p:cViewPr>
      <p:guideLst>
        <p:guide orient="horz" pos="829"/>
        <p:guide orient="horz" pos="3279"/>
        <p:guide orient="horz" pos="4187"/>
        <p:guide pos="3689"/>
        <p:guide pos="181"/>
        <p:guide orient="horz" pos="1101"/>
        <p:guide orient="horz" pos="1495"/>
        <p:guide orient="horz" pos="1857"/>
        <p:guide orient="horz" pos="2220"/>
        <p:guide orient="horz" pos="2584"/>
        <p:guide orient="horz" pos="2916"/>
        <p:guide orient="horz" pos="3612"/>
        <p:guide orient="horz" pos="3975"/>
        <p:guide pos="40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9510"/>
    </p:cViewPr>
  </p:sorterViewPr>
  <p:notesViewPr>
    <p:cSldViewPr snapToGrid="0">
      <p:cViewPr varScale="1">
        <p:scale>
          <a:sx n="114" d="100"/>
          <a:sy n="114" d="100"/>
        </p:scale>
        <p:origin x="207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308535604001674"/>
          <c:y val="2.1450527049861869E-2"/>
          <c:w val="0.76086954303220555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 w="12700">
              <a:solidFill>
                <a:schemeClr val="tx1"/>
              </a:solidFill>
            </a:ln>
          </c:spPr>
          <c:dPt>
            <c:idx val="0"/>
            <c:bubble3D val="0"/>
            <c:spPr>
              <a:solidFill>
                <a:schemeClr val="bg1"/>
              </a:solidFill>
              <a:ln w="127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BBB-4193-9081-5B599DF293F1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27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BBB-4193-9081-5B599DF293F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7.08</c:v>
                </c:pt>
                <c:pt idx="1">
                  <c:v>32.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BBB-4193-9081-5B599DF293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308539877625952"/>
          <c:y val="2.6231043819494412E-2"/>
          <c:w val="0.76086954303220555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3"/>
            </a:solidFill>
            <a:ln w="12700">
              <a:solidFill>
                <a:schemeClr val="tx1"/>
              </a:solidFill>
            </a:ln>
          </c:spPr>
          <c:dPt>
            <c:idx val="0"/>
            <c:bubble3D val="0"/>
            <c:spPr>
              <a:solidFill>
                <a:schemeClr val="bg1"/>
              </a:solidFill>
              <a:ln w="127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898-4AA9-9A17-EE5D6BB2BBF1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270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898-4AA9-9A17-EE5D6BB2BBF1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0.189999999999998</c:v>
                </c:pt>
                <c:pt idx="1">
                  <c:v>69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898-4AA9-9A17-EE5D6BB2BB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258043421041921E-3"/>
          <c:y val="0.17015332007642517"/>
          <c:w val="0.99069930334755596"/>
          <c:h val="0.5675533377116783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федеральный бюджет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5446588858022739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0D2D-4D0F-8FA6-F1000079BA45}"/>
                </c:ext>
              </c:extLst>
            </c:dLbl>
            <c:dLbl>
              <c:idx val="1"/>
              <c:layout>
                <c:manualLayout>
                  <c:x val="-1.9308236072528424E-2"/>
                  <c:y val="1.556835688558070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0D2D-4D0F-8FA6-F1000079BA45}"/>
                </c:ext>
              </c:extLst>
            </c:dLbl>
            <c:dLbl>
              <c:idx val="2"/>
              <c:layout>
                <c:manualLayout>
                  <c:x val="-1.9308236072528424E-2"/>
                  <c:y val="-3.892089221395355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D2D-4D0F-8FA6-F1000079BA4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Лист1!$B$2:$B$3</c:f>
              <c:numCache>
                <c:formatCode>0.0</c:formatCode>
                <c:ptCount val="2"/>
                <c:pt idx="0">
                  <c:v>509.7</c:v>
                </c:pt>
                <c:pt idx="1">
                  <c:v>5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D2D-4D0F-8FA6-F1000079BA4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егиональный бюджет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8616472145056847E-3"/>
                  <c:y val="3.892089221395070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0D2D-4D0F-8FA6-F1000079BA45}"/>
                </c:ext>
              </c:extLst>
            </c:dLbl>
            <c:dLbl>
              <c:idx val="1"/>
              <c:layout>
                <c:manualLayout>
                  <c:x val="2.3169883287034038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0D2D-4D0F-8FA6-F1000079BA45}"/>
                </c:ext>
              </c:extLst>
            </c:dLbl>
            <c:dLbl>
              <c:idx val="2"/>
              <c:layout>
                <c:manualLayout>
                  <c:x val="2.7031530501539724E-2"/>
                  <c:y val="-3.89208922139521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D2D-4D0F-8FA6-F1000079BA45}"/>
                </c:ext>
              </c:extLst>
            </c:dLbl>
            <c:dLbl>
              <c:idx val="3"/>
              <c:layout>
                <c:manualLayout>
                  <c:x val="3.0893177716045477E-2"/>
                  <c:y val="-3.89208922139521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D2D-4D0F-8FA6-F1000079BA4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Лист1!$C$2:$C$3</c:f>
              <c:numCache>
                <c:formatCode>0.0</c:formatCode>
                <c:ptCount val="2"/>
                <c:pt idx="0">
                  <c:v>148.6</c:v>
                </c:pt>
                <c:pt idx="1">
                  <c:v>201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D2D-4D0F-8FA6-F1000079BA4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73689551"/>
        <c:axId val="973684975"/>
      </c:barChart>
      <c:catAx>
        <c:axId val="9736895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73684975"/>
        <c:crosses val="autoZero"/>
        <c:auto val="1"/>
        <c:lblAlgn val="ctr"/>
        <c:lblOffset val="100"/>
        <c:noMultiLvlLbl val="0"/>
      </c:catAx>
      <c:valAx>
        <c:axId val="973684975"/>
        <c:scaling>
          <c:orientation val="minMax"/>
        </c:scaling>
        <c:delete val="1"/>
        <c:axPos val="l"/>
        <c:numFmt formatCode="0.0" sourceLinked="1"/>
        <c:majorTickMark val="none"/>
        <c:minorTickMark val="none"/>
        <c:tickLblPos val="nextTo"/>
        <c:crossAx val="9736895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4742797069117093"/>
          <c:w val="1"/>
          <c:h val="0.1241110326625544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 rot="-5400000" vert="horz"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292097291113727"/>
          <c:y val="9.4481429005575518E-2"/>
          <c:w val="0.620545287821058"/>
          <c:h val="0.6723387761827939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егиональный бюджет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832.5</c:v>
                </c:pt>
                <c:pt idx="1">
                  <c:v>86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AB9-4146-A540-B034C29F9DA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3</c:v>
                </c:pt>
                <c:pt idx="1">
                  <c:v>2024</c:v>
                </c:pt>
              </c:numCache>
            </c:num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AB9-4146-A540-B034C29F9DA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78099120"/>
        <c:axId val="1678104112"/>
      </c:barChart>
      <c:catAx>
        <c:axId val="1678099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678104112"/>
        <c:crosses val="autoZero"/>
        <c:auto val="1"/>
        <c:lblAlgn val="ctr"/>
        <c:lblOffset val="100"/>
        <c:noMultiLvlLbl val="0"/>
      </c:catAx>
      <c:valAx>
        <c:axId val="16781041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6780991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1"/>
        <c:delete val="1"/>
      </c:legendEntry>
      <c:layout>
        <c:manualLayout>
          <c:xMode val="edge"/>
          <c:yMode val="edge"/>
          <c:x val="0.27722094085370541"/>
          <c:y val="0.86026309084083641"/>
          <c:w val="0.56394103458815914"/>
          <c:h val="0.1397369704959330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232944290113693E-3"/>
          <c:y val="0.16393152831494087"/>
          <c:w val="0.99069930334755596"/>
          <c:h val="0.5675533377116783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федеральный бюджет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5446588858022739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8A1B-46E7-A8A8-FEBE57C42D32}"/>
                </c:ext>
              </c:extLst>
            </c:dLbl>
            <c:dLbl>
              <c:idx val="1"/>
              <c:layout>
                <c:manualLayout>
                  <c:x val="-1.9308236072528424E-2"/>
                  <c:y val="1.556835688558070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8A1B-46E7-A8A8-FEBE57C42D32}"/>
                </c:ext>
              </c:extLst>
            </c:dLbl>
            <c:dLbl>
              <c:idx val="2"/>
              <c:layout>
                <c:manualLayout>
                  <c:x val="-1.9308236072528424E-2"/>
                  <c:y val="-3.892089221395355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8A1B-46E7-A8A8-FEBE57C42D3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Лист1!$B$2:$B$3</c:f>
              <c:numCache>
                <c:formatCode>0.0</c:formatCode>
                <c:ptCount val="2"/>
                <c:pt idx="0">
                  <c:v>174.5</c:v>
                </c:pt>
                <c:pt idx="1">
                  <c:v>695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A1B-46E7-A8A8-FEBE57C42D32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егиональный бюджет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8616472145056847E-3"/>
                  <c:y val="3.892089221395070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8A1B-46E7-A8A8-FEBE57C42D32}"/>
                </c:ext>
              </c:extLst>
            </c:dLbl>
            <c:dLbl>
              <c:idx val="1"/>
              <c:layout>
                <c:manualLayout>
                  <c:x val="2.3169883287034038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8A1B-46E7-A8A8-FEBE57C42D32}"/>
                </c:ext>
              </c:extLst>
            </c:dLbl>
            <c:dLbl>
              <c:idx val="2"/>
              <c:layout>
                <c:manualLayout>
                  <c:x val="2.7031530501539724E-2"/>
                  <c:y val="-3.89208922139521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8A1B-46E7-A8A8-FEBE57C42D32}"/>
                </c:ext>
              </c:extLst>
            </c:dLbl>
            <c:dLbl>
              <c:idx val="3"/>
              <c:layout>
                <c:manualLayout>
                  <c:x val="3.0893177716045477E-2"/>
                  <c:y val="-3.89208922139521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8A1B-46E7-A8A8-FEBE57C42D3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21</c:v>
                </c:pt>
                <c:pt idx="1">
                  <c:v>2022</c:v>
                </c:pt>
              </c:numCache>
            </c:numRef>
          </c:cat>
          <c:val>
            <c:numRef>
              <c:f>Лист1!$C$2:$C$3</c:f>
              <c:numCache>
                <c:formatCode>0.0</c:formatCode>
                <c:ptCount val="2"/>
                <c:pt idx="0">
                  <c:v>64</c:v>
                </c:pt>
                <c:pt idx="1">
                  <c:v>21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A1B-46E7-A8A8-FEBE57C42D3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973689551"/>
        <c:axId val="973684975"/>
      </c:barChart>
      <c:catAx>
        <c:axId val="9736895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73684975"/>
        <c:crosses val="autoZero"/>
        <c:auto val="1"/>
        <c:lblAlgn val="ctr"/>
        <c:lblOffset val="100"/>
        <c:noMultiLvlLbl val="0"/>
      </c:catAx>
      <c:valAx>
        <c:axId val="973684975"/>
        <c:scaling>
          <c:orientation val="minMax"/>
        </c:scaling>
        <c:delete val="1"/>
        <c:axPos val="l"/>
        <c:numFmt formatCode="0.0" sourceLinked="1"/>
        <c:majorTickMark val="none"/>
        <c:minorTickMark val="none"/>
        <c:tickLblPos val="nextTo"/>
        <c:crossAx val="97368955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402234038930269E-2"/>
          <c:y val="0.84084052747566518"/>
          <c:w val="0.98597765961069728"/>
          <c:h val="0.1317637659772611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 rot="-5400000" vert="horz"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1">
  <dgm:title val=""/>
  <dgm:desc val=""/>
  <dgm:catLst>
    <dgm:cat type="accent4" pri="11100"/>
  </dgm:catLst>
  <dgm:styleLbl name="node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4">
        <a:alpha val="4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4B28E9E-4C33-49E5-B1C4-91E4FF98511D}" type="doc">
      <dgm:prSet loTypeId="urn:microsoft.com/office/officeart/2005/8/layout/cycle3" loCatId="cycle" qsTypeId="urn:microsoft.com/office/officeart/2005/8/quickstyle/simple1" qsCatId="simple" csTypeId="urn:microsoft.com/office/officeart/2005/8/colors/accent4_1" csCatId="accent4" phldr="1"/>
      <dgm:spPr/>
      <dgm:t>
        <a:bodyPr/>
        <a:lstStyle/>
        <a:p>
          <a:endParaRPr lang="ru-RU"/>
        </a:p>
      </dgm:t>
    </dgm:pt>
    <dgm:pt modelId="{D485C61C-DA9D-48BA-BF3D-3C4C50D5BB8C}">
      <dgm:prSet phldrT="[Текст]" custT="1"/>
      <dgm:spPr/>
      <dgm:t>
        <a:bodyPr/>
        <a:lstStyle/>
        <a:p>
          <a:r>
            <a:rPr lang="ru-RU" sz="1000" b="1" dirty="0" smtClean="0">
              <a:solidFill>
                <a:srgbClr val="002060"/>
              </a:solidFill>
            </a:rPr>
            <a:t>Выявление кадастровых кварталов</a:t>
          </a:r>
          <a:endParaRPr lang="ru-RU" sz="1000" b="1" dirty="0">
            <a:solidFill>
              <a:srgbClr val="002060"/>
            </a:solidFill>
          </a:endParaRPr>
        </a:p>
      </dgm:t>
    </dgm:pt>
    <dgm:pt modelId="{8E4A3E74-6024-4383-A755-EAD6AEEAD8A9}" type="parTrans" cxnId="{3D68D783-BE24-408C-8640-7241CD18B3F3}">
      <dgm:prSet/>
      <dgm:spPr/>
      <dgm:t>
        <a:bodyPr/>
        <a:lstStyle/>
        <a:p>
          <a:endParaRPr lang="ru-RU" sz="2000" b="1">
            <a:solidFill>
              <a:srgbClr val="002060"/>
            </a:solidFill>
          </a:endParaRPr>
        </a:p>
      </dgm:t>
    </dgm:pt>
    <dgm:pt modelId="{59110AEC-1344-435C-B84C-124BEDDD1F7E}" type="sibTrans" cxnId="{3D68D783-BE24-408C-8640-7241CD18B3F3}">
      <dgm:prSet/>
      <dgm:spPr/>
      <dgm:t>
        <a:bodyPr/>
        <a:lstStyle/>
        <a:p>
          <a:endParaRPr lang="ru-RU">
            <a:solidFill>
              <a:srgbClr val="002060"/>
            </a:solidFill>
          </a:endParaRPr>
        </a:p>
      </dgm:t>
    </dgm:pt>
    <dgm:pt modelId="{419213C7-CFC2-4CF4-8AD5-CA60BFECD84B}">
      <dgm:prSet phldrT="[Текст]" custT="1"/>
      <dgm:spPr/>
      <dgm:t>
        <a:bodyPr/>
        <a:lstStyle/>
        <a:p>
          <a:r>
            <a:rPr lang="ru-RU" sz="1000" b="1" dirty="0" smtClean="0">
              <a:solidFill>
                <a:srgbClr val="002060"/>
              </a:solidFill>
            </a:rPr>
            <a:t>Подача заявок на субсидию</a:t>
          </a:r>
          <a:endParaRPr lang="ru-RU" sz="1000" b="1" dirty="0">
            <a:solidFill>
              <a:srgbClr val="002060"/>
            </a:solidFill>
          </a:endParaRPr>
        </a:p>
      </dgm:t>
    </dgm:pt>
    <dgm:pt modelId="{9D821B66-102F-4237-BCF0-5AE8AD6C4A54}" type="parTrans" cxnId="{51923093-C369-4DF3-B1B5-AC9E5897BAD5}">
      <dgm:prSet/>
      <dgm:spPr/>
      <dgm:t>
        <a:bodyPr/>
        <a:lstStyle/>
        <a:p>
          <a:endParaRPr lang="ru-RU" sz="2000" b="1">
            <a:solidFill>
              <a:srgbClr val="002060"/>
            </a:solidFill>
          </a:endParaRPr>
        </a:p>
      </dgm:t>
    </dgm:pt>
    <dgm:pt modelId="{A5B73C9B-7F66-4031-ACC9-B0F5C352F4B6}" type="sibTrans" cxnId="{51923093-C369-4DF3-B1B5-AC9E5897BAD5}">
      <dgm:prSet/>
      <dgm:spPr/>
      <dgm:t>
        <a:bodyPr/>
        <a:lstStyle/>
        <a:p>
          <a:endParaRPr lang="ru-RU" sz="2000" b="1">
            <a:solidFill>
              <a:srgbClr val="002060"/>
            </a:solidFill>
          </a:endParaRPr>
        </a:p>
      </dgm:t>
    </dgm:pt>
    <dgm:pt modelId="{961FCECA-9832-45E5-A65F-4AC15F2EC7F8}">
      <dgm:prSet phldrT="[Текст]" custT="1"/>
      <dgm:spPr/>
      <dgm:t>
        <a:bodyPr/>
        <a:lstStyle/>
        <a:p>
          <a:r>
            <a:rPr lang="ru-RU" sz="1000" b="1" dirty="0" smtClean="0">
              <a:solidFill>
                <a:srgbClr val="002060"/>
              </a:solidFill>
            </a:rPr>
            <a:t>Заключение соглашений о предоставлении субсидии</a:t>
          </a:r>
          <a:endParaRPr lang="ru-RU" sz="1000" b="1" dirty="0">
            <a:solidFill>
              <a:srgbClr val="002060"/>
            </a:solidFill>
          </a:endParaRPr>
        </a:p>
      </dgm:t>
    </dgm:pt>
    <dgm:pt modelId="{BCAA94BF-F240-4F09-86D8-CF9C1FEBE8EB}" type="parTrans" cxnId="{254B0C7A-1EC3-4BE7-8C9F-E8B15144340F}">
      <dgm:prSet/>
      <dgm:spPr/>
      <dgm:t>
        <a:bodyPr/>
        <a:lstStyle/>
        <a:p>
          <a:endParaRPr lang="ru-RU" sz="2000" b="1">
            <a:solidFill>
              <a:srgbClr val="002060"/>
            </a:solidFill>
          </a:endParaRPr>
        </a:p>
      </dgm:t>
    </dgm:pt>
    <dgm:pt modelId="{0F484730-C411-45A6-A8A9-80C5D339CAF8}" type="sibTrans" cxnId="{254B0C7A-1EC3-4BE7-8C9F-E8B15144340F}">
      <dgm:prSet/>
      <dgm:spPr/>
      <dgm:t>
        <a:bodyPr/>
        <a:lstStyle/>
        <a:p>
          <a:endParaRPr lang="ru-RU" sz="2000" b="1">
            <a:solidFill>
              <a:srgbClr val="002060"/>
            </a:solidFill>
          </a:endParaRPr>
        </a:p>
      </dgm:t>
    </dgm:pt>
    <dgm:pt modelId="{297434F8-D832-4052-9023-718F2E86B316}">
      <dgm:prSet phldrT="[Текст]" custT="1"/>
      <dgm:spPr/>
      <dgm:t>
        <a:bodyPr/>
        <a:lstStyle/>
        <a:p>
          <a:r>
            <a:rPr lang="ru-RU" sz="1000" b="1" dirty="0" smtClean="0">
              <a:solidFill>
                <a:srgbClr val="002060"/>
              </a:solidFill>
            </a:rPr>
            <a:t>Конкурсные процедуры и заключение контрактов</a:t>
          </a:r>
          <a:endParaRPr lang="ru-RU" sz="1000" b="1" dirty="0">
            <a:solidFill>
              <a:srgbClr val="002060"/>
            </a:solidFill>
          </a:endParaRPr>
        </a:p>
      </dgm:t>
    </dgm:pt>
    <dgm:pt modelId="{3F2DEEC5-5D4F-4B92-8A71-948EB9C754DD}" type="parTrans" cxnId="{F5B60C59-C3AC-4952-AB12-19C4A1C3194E}">
      <dgm:prSet/>
      <dgm:spPr/>
      <dgm:t>
        <a:bodyPr/>
        <a:lstStyle/>
        <a:p>
          <a:endParaRPr lang="ru-RU" sz="2000" b="1">
            <a:solidFill>
              <a:srgbClr val="002060"/>
            </a:solidFill>
          </a:endParaRPr>
        </a:p>
      </dgm:t>
    </dgm:pt>
    <dgm:pt modelId="{11364197-435C-4D34-B43F-CC60730EA930}" type="sibTrans" cxnId="{F5B60C59-C3AC-4952-AB12-19C4A1C3194E}">
      <dgm:prSet/>
      <dgm:spPr/>
      <dgm:t>
        <a:bodyPr/>
        <a:lstStyle/>
        <a:p>
          <a:endParaRPr lang="ru-RU" sz="2000" b="1">
            <a:solidFill>
              <a:srgbClr val="002060"/>
            </a:solidFill>
          </a:endParaRPr>
        </a:p>
      </dgm:t>
    </dgm:pt>
    <dgm:pt modelId="{AB6F095B-7B80-418C-B712-B5842E40F4CF}">
      <dgm:prSet phldrT="[Текст]" custT="1"/>
      <dgm:spPr/>
      <dgm:t>
        <a:bodyPr/>
        <a:lstStyle/>
        <a:p>
          <a:r>
            <a:rPr lang="ru-RU" sz="1000" b="1" dirty="0" smtClean="0">
              <a:solidFill>
                <a:srgbClr val="002060"/>
              </a:solidFill>
            </a:rPr>
            <a:t>Выполнение ККР и подготовка КПТР</a:t>
          </a:r>
          <a:endParaRPr lang="ru-RU" sz="1000" b="1" dirty="0">
            <a:solidFill>
              <a:srgbClr val="002060"/>
            </a:solidFill>
          </a:endParaRPr>
        </a:p>
      </dgm:t>
    </dgm:pt>
    <dgm:pt modelId="{791349A7-3280-4392-959B-55F124CB235C}" type="parTrans" cxnId="{35ECD411-4CF8-4B68-A241-09BCB708CD95}">
      <dgm:prSet/>
      <dgm:spPr/>
      <dgm:t>
        <a:bodyPr/>
        <a:lstStyle/>
        <a:p>
          <a:endParaRPr lang="ru-RU" sz="2000" b="1">
            <a:solidFill>
              <a:srgbClr val="002060"/>
            </a:solidFill>
          </a:endParaRPr>
        </a:p>
      </dgm:t>
    </dgm:pt>
    <dgm:pt modelId="{A849FDAC-B02D-47A0-8E55-88680D631B0C}" type="sibTrans" cxnId="{35ECD411-4CF8-4B68-A241-09BCB708CD95}">
      <dgm:prSet/>
      <dgm:spPr/>
      <dgm:t>
        <a:bodyPr/>
        <a:lstStyle/>
        <a:p>
          <a:endParaRPr lang="ru-RU" sz="2000" b="1">
            <a:solidFill>
              <a:srgbClr val="002060"/>
            </a:solidFill>
          </a:endParaRPr>
        </a:p>
      </dgm:t>
    </dgm:pt>
    <dgm:pt modelId="{885E16BC-6AAD-45A0-8FF0-C15C81564550}">
      <dgm:prSet phldrT="[Текст]" custT="1"/>
      <dgm:spPr/>
      <dgm:t>
        <a:bodyPr/>
        <a:lstStyle/>
        <a:p>
          <a:r>
            <a:rPr lang="ru-RU" sz="1000" b="1" dirty="0" smtClean="0">
              <a:solidFill>
                <a:srgbClr val="002060"/>
              </a:solidFill>
            </a:rPr>
            <a:t>Согласительные комиссии</a:t>
          </a:r>
          <a:endParaRPr lang="ru-RU" sz="1000" b="1" dirty="0">
            <a:solidFill>
              <a:srgbClr val="002060"/>
            </a:solidFill>
          </a:endParaRPr>
        </a:p>
      </dgm:t>
    </dgm:pt>
    <dgm:pt modelId="{89238975-0475-4F7D-B065-BDA2FBB4C50A}" type="parTrans" cxnId="{6EC9350E-4B7E-4067-8EA9-EAB24692D7D4}">
      <dgm:prSet/>
      <dgm:spPr/>
      <dgm:t>
        <a:bodyPr/>
        <a:lstStyle/>
        <a:p>
          <a:endParaRPr lang="ru-RU" sz="2000" b="1">
            <a:solidFill>
              <a:srgbClr val="002060"/>
            </a:solidFill>
          </a:endParaRPr>
        </a:p>
      </dgm:t>
    </dgm:pt>
    <dgm:pt modelId="{8E4E1D61-BF7B-47A5-A961-8064ACA1D533}" type="sibTrans" cxnId="{6EC9350E-4B7E-4067-8EA9-EAB24692D7D4}">
      <dgm:prSet/>
      <dgm:spPr/>
      <dgm:t>
        <a:bodyPr/>
        <a:lstStyle/>
        <a:p>
          <a:endParaRPr lang="ru-RU" sz="2000" b="1">
            <a:solidFill>
              <a:srgbClr val="002060"/>
            </a:solidFill>
          </a:endParaRPr>
        </a:p>
      </dgm:t>
    </dgm:pt>
    <dgm:pt modelId="{921C001B-2DB1-46B4-8244-87CD7D141057}">
      <dgm:prSet phldrT="[Текст]" custT="1"/>
      <dgm:spPr/>
      <dgm:t>
        <a:bodyPr/>
        <a:lstStyle/>
        <a:p>
          <a:r>
            <a:rPr lang="ru-RU" sz="1000" b="1" dirty="0" smtClean="0">
              <a:solidFill>
                <a:srgbClr val="002060"/>
              </a:solidFill>
              <a:latin typeface="+mn-lt"/>
            </a:rPr>
            <a:t>Утверждение КПТР</a:t>
          </a:r>
          <a:endParaRPr lang="ru-RU" sz="1000" b="1" dirty="0">
            <a:solidFill>
              <a:srgbClr val="002060"/>
            </a:solidFill>
            <a:latin typeface="+mn-lt"/>
          </a:endParaRPr>
        </a:p>
      </dgm:t>
    </dgm:pt>
    <dgm:pt modelId="{406D92D4-77C9-49D4-A67F-0C6DD63B9A1C}" type="parTrans" cxnId="{BC36F074-DAC2-4F17-8755-25BD73602EC2}">
      <dgm:prSet/>
      <dgm:spPr/>
      <dgm:t>
        <a:bodyPr/>
        <a:lstStyle/>
        <a:p>
          <a:endParaRPr lang="ru-RU" sz="2000" b="1">
            <a:solidFill>
              <a:srgbClr val="002060"/>
            </a:solidFill>
          </a:endParaRPr>
        </a:p>
      </dgm:t>
    </dgm:pt>
    <dgm:pt modelId="{D946F8AF-E2C6-4FD9-A0CF-9360327D747C}" type="sibTrans" cxnId="{BC36F074-DAC2-4F17-8755-25BD73602EC2}">
      <dgm:prSet/>
      <dgm:spPr/>
      <dgm:t>
        <a:bodyPr/>
        <a:lstStyle/>
        <a:p>
          <a:endParaRPr lang="ru-RU" sz="2000" b="1">
            <a:solidFill>
              <a:srgbClr val="002060"/>
            </a:solidFill>
          </a:endParaRPr>
        </a:p>
      </dgm:t>
    </dgm:pt>
    <dgm:pt modelId="{ABAD90B8-9057-4A5A-BE3B-7A70210C8EB2}">
      <dgm:prSet custT="1"/>
      <dgm:spPr/>
      <dgm:t>
        <a:bodyPr/>
        <a:lstStyle/>
        <a:p>
          <a:r>
            <a:rPr lang="ru-RU" sz="1000" b="1" dirty="0" smtClean="0">
              <a:solidFill>
                <a:srgbClr val="002060"/>
              </a:solidFill>
              <a:latin typeface="+mn-lt"/>
            </a:rPr>
            <a:t>Внесение сведений в ЕГРН</a:t>
          </a:r>
          <a:endParaRPr lang="ru-RU" sz="1000" b="1" dirty="0">
            <a:solidFill>
              <a:srgbClr val="002060"/>
            </a:solidFill>
            <a:latin typeface="+mn-lt"/>
          </a:endParaRPr>
        </a:p>
      </dgm:t>
    </dgm:pt>
    <dgm:pt modelId="{927C5192-A125-45CF-B7FF-1FB2F4B4BFDC}" type="parTrans" cxnId="{097E2A89-5DA0-4D07-8DC3-285ECD257D3C}">
      <dgm:prSet/>
      <dgm:spPr/>
      <dgm:t>
        <a:bodyPr/>
        <a:lstStyle/>
        <a:p>
          <a:endParaRPr lang="ru-RU" sz="2000" b="1">
            <a:solidFill>
              <a:srgbClr val="002060"/>
            </a:solidFill>
          </a:endParaRPr>
        </a:p>
      </dgm:t>
    </dgm:pt>
    <dgm:pt modelId="{51FBEFC6-E719-40DF-8F9E-7C480C981437}" type="sibTrans" cxnId="{097E2A89-5DA0-4D07-8DC3-285ECD257D3C}">
      <dgm:prSet/>
      <dgm:spPr/>
      <dgm:t>
        <a:bodyPr/>
        <a:lstStyle/>
        <a:p>
          <a:endParaRPr lang="ru-RU" sz="2000" b="1">
            <a:solidFill>
              <a:srgbClr val="002060"/>
            </a:solidFill>
          </a:endParaRPr>
        </a:p>
      </dgm:t>
    </dgm:pt>
    <dgm:pt modelId="{C6083BC2-5412-41B1-95C0-EEF49720C9DF}">
      <dgm:prSet phldrT="[Текст]" custT="1"/>
      <dgm:spPr/>
      <dgm:t>
        <a:bodyPr/>
        <a:lstStyle/>
        <a:p>
          <a:r>
            <a:rPr lang="ru-RU" sz="1000" b="1" dirty="0" smtClean="0">
              <a:solidFill>
                <a:srgbClr val="002060"/>
              </a:solidFill>
            </a:rPr>
            <a:t>Отбор субъектов РФ</a:t>
          </a:r>
          <a:endParaRPr lang="ru-RU" sz="1000" b="1" dirty="0">
            <a:solidFill>
              <a:srgbClr val="002060"/>
            </a:solidFill>
          </a:endParaRPr>
        </a:p>
      </dgm:t>
    </dgm:pt>
    <dgm:pt modelId="{FAB0CC4E-AC2B-4008-9471-5982D9A03461}" type="sibTrans" cxnId="{D27AE7D8-6DCA-4423-A9CE-69D806C1E73F}">
      <dgm:prSet/>
      <dgm:spPr/>
      <dgm:t>
        <a:bodyPr/>
        <a:lstStyle/>
        <a:p>
          <a:endParaRPr lang="ru-RU" sz="2000" b="1">
            <a:solidFill>
              <a:srgbClr val="002060"/>
            </a:solidFill>
          </a:endParaRPr>
        </a:p>
      </dgm:t>
    </dgm:pt>
    <dgm:pt modelId="{EE6D8BFA-8DB8-466C-B91C-BD62F8A2FBF7}" type="parTrans" cxnId="{D27AE7D8-6DCA-4423-A9CE-69D806C1E73F}">
      <dgm:prSet/>
      <dgm:spPr/>
      <dgm:t>
        <a:bodyPr/>
        <a:lstStyle/>
        <a:p>
          <a:endParaRPr lang="ru-RU" sz="2000" b="1">
            <a:solidFill>
              <a:srgbClr val="002060"/>
            </a:solidFill>
          </a:endParaRPr>
        </a:p>
      </dgm:t>
    </dgm:pt>
    <dgm:pt modelId="{F2AED132-0C24-47B1-8E0A-CCAEE5D3CF93}" type="pres">
      <dgm:prSet presAssocID="{B4B28E9E-4C33-49E5-B1C4-91E4FF98511D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F3B9492-FA0A-4E7D-AE5E-F753F3DAC452}" type="pres">
      <dgm:prSet presAssocID="{B4B28E9E-4C33-49E5-B1C4-91E4FF98511D}" presName="cycle" presStyleCnt="0"/>
      <dgm:spPr/>
      <dgm:t>
        <a:bodyPr/>
        <a:lstStyle/>
        <a:p>
          <a:endParaRPr lang="ru-RU"/>
        </a:p>
      </dgm:t>
    </dgm:pt>
    <dgm:pt modelId="{1DB09F85-328A-4352-996D-0EB7327F3061}" type="pres">
      <dgm:prSet presAssocID="{D485C61C-DA9D-48BA-BF3D-3C4C50D5BB8C}" presName="nodeFirst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E23EFD6-2CAF-466B-B7C2-17B99ACDE6A9}" type="pres">
      <dgm:prSet presAssocID="{59110AEC-1344-435C-B84C-124BEDDD1F7E}" presName="sibTransFirstNode" presStyleLbl="bgShp" presStyleIdx="0" presStyleCnt="1"/>
      <dgm:spPr/>
      <dgm:t>
        <a:bodyPr/>
        <a:lstStyle/>
        <a:p>
          <a:endParaRPr lang="ru-RU"/>
        </a:p>
      </dgm:t>
    </dgm:pt>
    <dgm:pt modelId="{07583506-A9E4-49C2-AA32-A4DCE437249A}" type="pres">
      <dgm:prSet presAssocID="{419213C7-CFC2-4CF4-8AD5-CA60BFECD84B}" presName="nodeFollowingNodes" presStyleLbl="node1" presStyleIdx="1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97CE3BD-C858-4E11-AF9A-8B261CCE402E}" type="pres">
      <dgm:prSet presAssocID="{C6083BC2-5412-41B1-95C0-EEF49720C9DF}" presName="nodeFollowingNodes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49A42A6-60DE-475E-931C-B9B994062EB9}" type="pres">
      <dgm:prSet presAssocID="{961FCECA-9832-45E5-A65F-4AC15F2EC7F8}" presName="nodeFollowingNodes" presStyleLbl="node1" presStyleIdx="3" presStyleCnt="9" custScaleX="13922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AFD5DC3-06D0-4608-BA24-9430701FB9E2}" type="pres">
      <dgm:prSet presAssocID="{297434F8-D832-4052-9023-718F2E86B316}" presName="nodeFollowingNodes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1E7EFED-74B5-4C4C-A2C9-AB4008B39B8C}" type="pres">
      <dgm:prSet presAssocID="{AB6F095B-7B80-418C-B712-B5842E40F4CF}" presName="nodeFollowingNodes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C728189-B67B-4AC0-B84D-93F61CA39E1E}" type="pres">
      <dgm:prSet presAssocID="{885E16BC-6AAD-45A0-8FF0-C15C81564550}" presName="nodeFollowingNodes" presStyleLbl="node1" presStyleIdx="6" presStyleCnt="9" custScaleX="12028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F7322A1-6C05-4BB5-9DB7-BB76963233FA}" type="pres">
      <dgm:prSet presAssocID="{921C001B-2DB1-46B4-8244-87CD7D141057}" presName="nodeFollowingNodes" presStyleLbl="node1" presStyleIdx="7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487B19A-2ECB-4DCD-928A-27F18B5F9F00}" type="pres">
      <dgm:prSet presAssocID="{ABAD90B8-9057-4A5A-BE3B-7A70210C8EB2}" presName="nodeFollowingNodes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C2D4705-9B97-41E2-BB33-35B5AD3D8335}" type="presOf" srcId="{885E16BC-6AAD-45A0-8FF0-C15C81564550}" destId="{0C728189-B67B-4AC0-B84D-93F61CA39E1E}" srcOrd="0" destOrd="0" presId="urn:microsoft.com/office/officeart/2005/8/layout/cycle3"/>
    <dgm:cxn modelId="{6EC9350E-4B7E-4067-8EA9-EAB24692D7D4}" srcId="{B4B28E9E-4C33-49E5-B1C4-91E4FF98511D}" destId="{885E16BC-6AAD-45A0-8FF0-C15C81564550}" srcOrd="6" destOrd="0" parTransId="{89238975-0475-4F7D-B065-BDA2FBB4C50A}" sibTransId="{8E4E1D61-BF7B-47A5-A961-8064ACA1D533}"/>
    <dgm:cxn modelId="{F2B71E18-BD28-4679-97D1-4B433CACACDA}" type="presOf" srcId="{C6083BC2-5412-41B1-95C0-EEF49720C9DF}" destId="{697CE3BD-C858-4E11-AF9A-8B261CCE402E}" srcOrd="0" destOrd="0" presId="urn:microsoft.com/office/officeart/2005/8/layout/cycle3"/>
    <dgm:cxn modelId="{9CA0AC0E-DC20-4AC9-8480-341A12386AA8}" type="presOf" srcId="{B4B28E9E-4C33-49E5-B1C4-91E4FF98511D}" destId="{F2AED132-0C24-47B1-8E0A-CCAEE5D3CF93}" srcOrd="0" destOrd="0" presId="urn:microsoft.com/office/officeart/2005/8/layout/cycle3"/>
    <dgm:cxn modelId="{61A35732-76E4-44B8-A6B7-A74540292E6A}" type="presOf" srcId="{921C001B-2DB1-46B4-8244-87CD7D141057}" destId="{2F7322A1-6C05-4BB5-9DB7-BB76963233FA}" srcOrd="0" destOrd="0" presId="urn:microsoft.com/office/officeart/2005/8/layout/cycle3"/>
    <dgm:cxn modelId="{03A2D822-DD07-4103-AD04-3F745671E6D9}" type="presOf" srcId="{AB6F095B-7B80-418C-B712-B5842E40F4CF}" destId="{A1E7EFED-74B5-4C4C-A2C9-AB4008B39B8C}" srcOrd="0" destOrd="0" presId="urn:microsoft.com/office/officeart/2005/8/layout/cycle3"/>
    <dgm:cxn modelId="{097E2A89-5DA0-4D07-8DC3-285ECD257D3C}" srcId="{B4B28E9E-4C33-49E5-B1C4-91E4FF98511D}" destId="{ABAD90B8-9057-4A5A-BE3B-7A70210C8EB2}" srcOrd="8" destOrd="0" parTransId="{927C5192-A125-45CF-B7FF-1FB2F4B4BFDC}" sibTransId="{51FBEFC6-E719-40DF-8F9E-7C480C981437}"/>
    <dgm:cxn modelId="{3D68D783-BE24-408C-8640-7241CD18B3F3}" srcId="{B4B28E9E-4C33-49E5-B1C4-91E4FF98511D}" destId="{D485C61C-DA9D-48BA-BF3D-3C4C50D5BB8C}" srcOrd="0" destOrd="0" parTransId="{8E4A3E74-6024-4383-A755-EAD6AEEAD8A9}" sibTransId="{59110AEC-1344-435C-B84C-124BEDDD1F7E}"/>
    <dgm:cxn modelId="{254B0C7A-1EC3-4BE7-8C9F-E8B15144340F}" srcId="{B4B28E9E-4C33-49E5-B1C4-91E4FF98511D}" destId="{961FCECA-9832-45E5-A65F-4AC15F2EC7F8}" srcOrd="3" destOrd="0" parTransId="{BCAA94BF-F240-4F09-86D8-CF9C1FEBE8EB}" sibTransId="{0F484730-C411-45A6-A8A9-80C5D339CAF8}"/>
    <dgm:cxn modelId="{771D488B-B5AC-42EA-8591-6BB0BB3A37B8}" type="presOf" srcId="{419213C7-CFC2-4CF4-8AD5-CA60BFECD84B}" destId="{07583506-A9E4-49C2-AA32-A4DCE437249A}" srcOrd="0" destOrd="0" presId="urn:microsoft.com/office/officeart/2005/8/layout/cycle3"/>
    <dgm:cxn modelId="{D27AE7D8-6DCA-4423-A9CE-69D806C1E73F}" srcId="{B4B28E9E-4C33-49E5-B1C4-91E4FF98511D}" destId="{C6083BC2-5412-41B1-95C0-EEF49720C9DF}" srcOrd="2" destOrd="0" parTransId="{EE6D8BFA-8DB8-466C-B91C-BD62F8A2FBF7}" sibTransId="{FAB0CC4E-AC2B-4008-9471-5982D9A03461}"/>
    <dgm:cxn modelId="{BC36F074-DAC2-4F17-8755-25BD73602EC2}" srcId="{B4B28E9E-4C33-49E5-B1C4-91E4FF98511D}" destId="{921C001B-2DB1-46B4-8244-87CD7D141057}" srcOrd="7" destOrd="0" parTransId="{406D92D4-77C9-49D4-A67F-0C6DD63B9A1C}" sibTransId="{D946F8AF-E2C6-4FD9-A0CF-9360327D747C}"/>
    <dgm:cxn modelId="{35ECD411-4CF8-4B68-A241-09BCB708CD95}" srcId="{B4B28E9E-4C33-49E5-B1C4-91E4FF98511D}" destId="{AB6F095B-7B80-418C-B712-B5842E40F4CF}" srcOrd="5" destOrd="0" parTransId="{791349A7-3280-4392-959B-55F124CB235C}" sibTransId="{A849FDAC-B02D-47A0-8E55-88680D631B0C}"/>
    <dgm:cxn modelId="{41C27257-A8E0-4274-BEB2-DF964B27A40C}" type="presOf" srcId="{59110AEC-1344-435C-B84C-124BEDDD1F7E}" destId="{DE23EFD6-2CAF-466B-B7C2-17B99ACDE6A9}" srcOrd="0" destOrd="0" presId="urn:microsoft.com/office/officeart/2005/8/layout/cycle3"/>
    <dgm:cxn modelId="{51923093-C369-4DF3-B1B5-AC9E5897BAD5}" srcId="{B4B28E9E-4C33-49E5-B1C4-91E4FF98511D}" destId="{419213C7-CFC2-4CF4-8AD5-CA60BFECD84B}" srcOrd="1" destOrd="0" parTransId="{9D821B66-102F-4237-BCF0-5AE8AD6C4A54}" sibTransId="{A5B73C9B-7F66-4031-ACC9-B0F5C352F4B6}"/>
    <dgm:cxn modelId="{7124DD20-3249-4458-8469-7D207D9310F2}" type="presOf" srcId="{ABAD90B8-9057-4A5A-BE3B-7A70210C8EB2}" destId="{6487B19A-2ECB-4DCD-928A-27F18B5F9F00}" srcOrd="0" destOrd="0" presId="urn:microsoft.com/office/officeart/2005/8/layout/cycle3"/>
    <dgm:cxn modelId="{F5B60C59-C3AC-4952-AB12-19C4A1C3194E}" srcId="{B4B28E9E-4C33-49E5-B1C4-91E4FF98511D}" destId="{297434F8-D832-4052-9023-718F2E86B316}" srcOrd="4" destOrd="0" parTransId="{3F2DEEC5-5D4F-4B92-8A71-948EB9C754DD}" sibTransId="{11364197-435C-4D34-B43F-CC60730EA930}"/>
    <dgm:cxn modelId="{F766F098-8AD5-4E16-98B9-6D27646226C0}" type="presOf" srcId="{297434F8-D832-4052-9023-718F2E86B316}" destId="{9AFD5DC3-06D0-4608-BA24-9430701FB9E2}" srcOrd="0" destOrd="0" presId="urn:microsoft.com/office/officeart/2005/8/layout/cycle3"/>
    <dgm:cxn modelId="{5C8B0A18-2A5B-40D3-A3F0-E3680FFDF191}" type="presOf" srcId="{961FCECA-9832-45E5-A65F-4AC15F2EC7F8}" destId="{749A42A6-60DE-475E-931C-B9B994062EB9}" srcOrd="0" destOrd="0" presId="urn:microsoft.com/office/officeart/2005/8/layout/cycle3"/>
    <dgm:cxn modelId="{64FD6F5D-188C-4B5B-B374-D6ADB1ADE44A}" type="presOf" srcId="{D485C61C-DA9D-48BA-BF3D-3C4C50D5BB8C}" destId="{1DB09F85-328A-4352-996D-0EB7327F3061}" srcOrd="0" destOrd="0" presId="urn:microsoft.com/office/officeart/2005/8/layout/cycle3"/>
    <dgm:cxn modelId="{EA2D2EB1-ABB7-47BB-A7BD-E6F7854E04DD}" type="presParOf" srcId="{F2AED132-0C24-47B1-8E0A-CCAEE5D3CF93}" destId="{5F3B9492-FA0A-4E7D-AE5E-F753F3DAC452}" srcOrd="0" destOrd="0" presId="urn:microsoft.com/office/officeart/2005/8/layout/cycle3"/>
    <dgm:cxn modelId="{20C3D157-36C6-469F-B7CA-02F811427155}" type="presParOf" srcId="{5F3B9492-FA0A-4E7D-AE5E-F753F3DAC452}" destId="{1DB09F85-328A-4352-996D-0EB7327F3061}" srcOrd="0" destOrd="0" presId="urn:microsoft.com/office/officeart/2005/8/layout/cycle3"/>
    <dgm:cxn modelId="{6836EF69-E1C2-4B86-9AF9-DB5BF6135808}" type="presParOf" srcId="{5F3B9492-FA0A-4E7D-AE5E-F753F3DAC452}" destId="{DE23EFD6-2CAF-466B-B7C2-17B99ACDE6A9}" srcOrd="1" destOrd="0" presId="urn:microsoft.com/office/officeart/2005/8/layout/cycle3"/>
    <dgm:cxn modelId="{8E474804-7AD3-4C30-A838-61C6BBC41700}" type="presParOf" srcId="{5F3B9492-FA0A-4E7D-AE5E-F753F3DAC452}" destId="{07583506-A9E4-49C2-AA32-A4DCE437249A}" srcOrd="2" destOrd="0" presId="urn:microsoft.com/office/officeart/2005/8/layout/cycle3"/>
    <dgm:cxn modelId="{B0C5D985-42CE-4D93-88EF-2048FCC1FA43}" type="presParOf" srcId="{5F3B9492-FA0A-4E7D-AE5E-F753F3DAC452}" destId="{697CE3BD-C858-4E11-AF9A-8B261CCE402E}" srcOrd="3" destOrd="0" presId="urn:microsoft.com/office/officeart/2005/8/layout/cycle3"/>
    <dgm:cxn modelId="{C1416F82-C079-423F-8AD6-205F66011A23}" type="presParOf" srcId="{5F3B9492-FA0A-4E7D-AE5E-F753F3DAC452}" destId="{749A42A6-60DE-475E-931C-B9B994062EB9}" srcOrd="4" destOrd="0" presId="urn:microsoft.com/office/officeart/2005/8/layout/cycle3"/>
    <dgm:cxn modelId="{97B9C63B-49C6-40A4-81D2-62DEC96BD520}" type="presParOf" srcId="{5F3B9492-FA0A-4E7D-AE5E-F753F3DAC452}" destId="{9AFD5DC3-06D0-4608-BA24-9430701FB9E2}" srcOrd="5" destOrd="0" presId="urn:microsoft.com/office/officeart/2005/8/layout/cycle3"/>
    <dgm:cxn modelId="{74758BDC-6601-404B-BD86-953F1DA80403}" type="presParOf" srcId="{5F3B9492-FA0A-4E7D-AE5E-F753F3DAC452}" destId="{A1E7EFED-74B5-4C4C-A2C9-AB4008B39B8C}" srcOrd="6" destOrd="0" presId="urn:microsoft.com/office/officeart/2005/8/layout/cycle3"/>
    <dgm:cxn modelId="{C6A0D41B-F627-4896-889E-E5226C258CE1}" type="presParOf" srcId="{5F3B9492-FA0A-4E7D-AE5E-F753F3DAC452}" destId="{0C728189-B67B-4AC0-B84D-93F61CA39E1E}" srcOrd="7" destOrd="0" presId="urn:microsoft.com/office/officeart/2005/8/layout/cycle3"/>
    <dgm:cxn modelId="{B000A4AA-BC1B-48F5-A24F-18A83C563F3A}" type="presParOf" srcId="{5F3B9492-FA0A-4E7D-AE5E-F753F3DAC452}" destId="{2F7322A1-6C05-4BB5-9DB7-BB76963233FA}" srcOrd="8" destOrd="0" presId="urn:microsoft.com/office/officeart/2005/8/layout/cycle3"/>
    <dgm:cxn modelId="{4D35A45D-7073-49C1-BA3F-89344AA43ED3}" type="presParOf" srcId="{5F3B9492-FA0A-4E7D-AE5E-F753F3DAC452}" destId="{6487B19A-2ECB-4DCD-928A-27F18B5F9F00}" srcOrd="9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FBD7433-F2C2-4EFA-B57A-7736B060DDCC}" type="doc">
      <dgm:prSet loTypeId="urn:microsoft.com/office/officeart/2008/layout/VerticalCurvedLis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D7EC27C-EEEE-4D71-886C-522B21BD0C55}">
      <dgm:prSet phldrT="[Текст]" custT="1"/>
      <dgm:spPr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44260">
              <a:srgbClr val="E4EEFA"/>
            </a:gs>
            <a:gs pos="40000">
              <a:schemeClr val="bg2"/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</a:gradFill>
      </dgm:spPr>
      <dgm:t>
        <a:bodyPr/>
        <a:lstStyle/>
        <a:p>
          <a:pPr algn="ctr"/>
          <a:r>
            <a:rPr lang="ru-RU" sz="900" b="1" dirty="0" smtClean="0">
              <a:solidFill>
                <a:srgbClr val="0070C0"/>
              </a:solidFill>
            </a:rPr>
            <a:t>Направление оперативной информации </a:t>
          </a:r>
          <a:endParaRPr lang="en-US" sz="900" b="1" dirty="0" smtClean="0">
            <a:solidFill>
              <a:srgbClr val="0070C0"/>
            </a:solidFill>
          </a:endParaRPr>
        </a:p>
        <a:p>
          <a:pPr algn="ctr"/>
          <a:r>
            <a:rPr lang="ru-RU" sz="900" b="1" dirty="0" smtClean="0">
              <a:solidFill>
                <a:srgbClr val="0070C0"/>
              </a:solidFill>
            </a:rPr>
            <a:t>о </a:t>
          </a:r>
          <a:r>
            <a:rPr lang="ru-RU" sz="900" b="1" dirty="0">
              <a:solidFill>
                <a:srgbClr val="0070C0"/>
              </a:solidFill>
            </a:rPr>
            <a:t>ходе исполнения </a:t>
          </a:r>
        </a:p>
        <a:p>
          <a:pPr algn="ctr"/>
          <a:r>
            <a:rPr lang="ru-RU" sz="900" b="1" dirty="0">
              <a:solidFill>
                <a:srgbClr val="FF0000"/>
              </a:solidFill>
            </a:rPr>
            <a:t>еженедельно</a:t>
          </a:r>
        </a:p>
      </dgm:t>
    </dgm:pt>
    <dgm:pt modelId="{4E01DDAC-AB0C-4B59-A054-2ABBED9D6D82}" type="parTrans" cxnId="{8CFBA571-D921-460B-AFB2-E91380D61000}">
      <dgm:prSet/>
      <dgm:spPr/>
      <dgm:t>
        <a:bodyPr/>
        <a:lstStyle/>
        <a:p>
          <a:endParaRPr lang="ru-RU"/>
        </a:p>
      </dgm:t>
    </dgm:pt>
    <dgm:pt modelId="{0C07B60F-34B6-4B40-8821-128406234B10}" type="sibTrans" cxnId="{8CFBA571-D921-460B-AFB2-E91380D61000}">
      <dgm:prSet/>
      <dgm:spPr/>
      <dgm:t>
        <a:bodyPr/>
        <a:lstStyle/>
        <a:p>
          <a:endParaRPr lang="ru-RU"/>
        </a:p>
      </dgm:t>
    </dgm:pt>
    <dgm:pt modelId="{5654229B-CA8B-4127-A325-361C24D5F127}">
      <dgm:prSet phldrT="[Текст]" custT="1"/>
      <dgm:spPr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72708">
              <a:schemeClr val="bg2"/>
            </a:gs>
            <a:gs pos="88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</a:gradFill>
      </dgm:spPr>
      <dgm:t>
        <a:bodyPr/>
        <a:lstStyle/>
        <a:p>
          <a:pPr algn="ctr"/>
          <a:r>
            <a:rPr lang="ru-RU" sz="900" b="1" dirty="0">
              <a:solidFill>
                <a:srgbClr val="0070C0"/>
              </a:solidFill>
            </a:rPr>
            <a:t>Проведение селекторных совещаний </a:t>
          </a:r>
        </a:p>
        <a:p>
          <a:pPr algn="ctr"/>
          <a:r>
            <a:rPr lang="ru-RU" sz="900" b="1" dirty="0">
              <a:solidFill>
                <a:srgbClr val="FF0000"/>
              </a:solidFill>
            </a:rPr>
            <a:t>1 раз в 2 месяца</a:t>
          </a:r>
        </a:p>
      </dgm:t>
    </dgm:pt>
    <dgm:pt modelId="{13155023-63BE-4CB2-BA84-90126EC24CE4}" type="parTrans" cxnId="{C330A3AF-B5E9-4D16-BDDA-0B0ABDD3FD24}">
      <dgm:prSet/>
      <dgm:spPr/>
      <dgm:t>
        <a:bodyPr/>
        <a:lstStyle/>
        <a:p>
          <a:endParaRPr lang="ru-RU"/>
        </a:p>
      </dgm:t>
    </dgm:pt>
    <dgm:pt modelId="{CF9BDC04-ACE6-4DBE-A980-11B13BEDE577}" type="sibTrans" cxnId="{C330A3AF-B5E9-4D16-BDDA-0B0ABDD3FD24}">
      <dgm:prSet/>
      <dgm:spPr/>
      <dgm:t>
        <a:bodyPr/>
        <a:lstStyle/>
        <a:p>
          <a:endParaRPr lang="ru-RU"/>
        </a:p>
      </dgm:t>
    </dgm:pt>
    <dgm:pt modelId="{0C772C32-6E80-441F-84BA-895820BDDC64}">
      <dgm:prSet custT="1"/>
      <dgm:spPr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91000">
              <a:schemeClr val="bg2"/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</a:gradFill>
      </dgm:spPr>
      <dgm:t>
        <a:bodyPr/>
        <a:lstStyle/>
        <a:p>
          <a:pPr algn="ctr"/>
          <a:r>
            <a:rPr lang="ru-RU" sz="900" b="1" dirty="0">
              <a:solidFill>
                <a:srgbClr val="0070C0"/>
              </a:solidFill>
            </a:rPr>
            <a:t>Предоставление отчета о достижении показателя</a:t>
          </a:r>
        </a:p>
        <a:p>
          <a:pPr algn="ctr"/>
          <a:r>
            <a:rPr lang="ru-RU" sz="900" b="1" dirty="0" smtClean="0">
              <a:solidFill>
                <a:srgbClr val="FF0000"/>
              </a:solidFill>
            </a:rPr>
            <a:t>5 </a:t>
          </a:r>
          <a:r>
            <a:rPr lang="ru-RU" sz="900" b="1" dirty="0">
              <a:solidFill>
                <a:srgbClr val="FF0000"/>
              </a:solidFill>
            </a:rPr>
            <a:t>февраля</a:t>
          </a:r>
        </a:p>
      </dgm:t>
    </dgm:pt>
    <dgm:pt modelId="{82FC6B2B-D13E-415A-BDEC-661867EC7E79}" type="parTrans" cxnId="{3BDDD46C-1D2B-48A7-A456-58276A900731}">
      <dgm:prSet/>
      <dgm:spPr/>
      <dgm:t>
        <a:bodyPr/>
        <a:lstStyle/>
        <a:p>
          <a:endParaRPr lang="ru-RU"/>
        </a:p>
      </dgm:t>
    </dgm:pt>
    <dgm:pt modelId="{6C4A3CF9-0576-4AA6-BC2C-09AE61914BDC}" type="sibTrans" cxnId="{3BDDD46C-1D2B-48A7-A456-58276A900731}">
      <dgm:prSet/>
      <dgm:spPr/>
      <dgm:t>
        <a:bodyPr/>
        <a:lstStyle/>
        <a:p>
          <a:endParaRPr lang="ru-RU"/>
        </a:p>
      </dgm:t>
    </dgm:pt>
    <dgm:pt modelId="{865ED92B-EAB7-45DC-91E1-8C2D9AFECFDB}">
      <dgm:prSet custT="1"/>
      <dgm:spPr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80000">
              <a:schemeClr val="bg2"/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</a:gradFill>
      </dgm:spPr>
      <dgm:t>
        <a:bodyPr/>
        <a:lstStyle/>
        <a:p>
          <a:pPr algn="ctr"/>
          <a:r>
            <a:rPr lang="ru-RU" sz="900" b="1" dirty="0">
              <a:solidFill>
                <a:srgbClr val="0070C0"/>
              </a:solidFill>
            </a:rPr>
            <a:t>Проведение заседаний рабочих групп</a:t>
          </a:r>
        </a:p>
        <a:p>
          <a:pPr algn="ctr"/>
          <a:r>
            <a:rPr lang="ru-RU" sz="900" b="1" dirty="0">
              <a:solidFill>
                <a:srgbClr val="FF0000"/>
              </a:solidFill>
            </a:rPr>
            <a:t>не реже 1 раза в месяц</a:t>
          </a:r>
        </a:p>
      </dgm:t>
    </dgm:pt>
    <dgm:pt modelId="{2E5B9EE5-C726-4378-82F9-E4236E2F4786}" type="parTrans" cxnId="{C684A6C6-E383-44E4-9117-949D4E61A4BA}">
      <dgm:prSet/>
      <dgm:spPr/>
      <dgm:t>
        <a:bodyPr/>
        <a:lstStyle/>
        <a:p>
          <a:endParaRPr lang="ru-RU"/>
        </a:p>
      </dgm:t>
    </dgm:pt>
    <dgm:pt modelId="{CC3B9377-76D8-4D19-B9EE-B15A061863E9}" type="sibTrans" cxnId="{C684A6C6-E383-44E4-9117-949D4E61A4BA}">
      <dgm:prSet/>
      <dgm:spPr/>
      <dgm:t>
        <a:bodyPr/>
        <a:lstStyle/>
        <a:p>
          <a:endParaRPr lang="ru-RU"/>
        </a:p>
      </dgm:t>
    </dgm:pt>
    <dgm:pt modelId="{616E14D4-81ED-4B0C-AD7D-9D95250B2247}">
      <dgm:prSet custT="1"/>
      <dgm:spPr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82000">
              <a:schemeClr val="bg2"/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</a:gradFill>
      </dgm:spPr>
      <dgm:t>
        <a:bodyPr/>
        <a:lstStyle/>
        <a:p>
          <a:pPr algn="ctr"/>
          <a:r>
            <a:rPr lang="ru-RU" sz="900" b="1" dirty="0">
              <a:solidFill>
                <a:srgbClr val="0070C0"/>
              </a:solidFill>
            </a:rPr>
            <a:t>Предоставление отчетов о расходах </a:t>
          </a:r>
          <a:endParaRPr lang="en-US" sz="900" b="1" dirty="0" smtClean="0">
            <a:solidFill>
              <a:srgbClr val="0070C0"/>
            </a:solidFill>
          </a:endParaRPr>
        </a:p>
        <a:p>
          <a:pPr algn="ctr"/>
          <a:r>
            <a:rPr lang="ru-RU" sz="900" b="1" dirty="0" smtClean="0">
              <a:solidFill>
                <a:srgbClr val="0070C0"/>
              </a:solidFill>
            </a:rPr>
            <a:t>за </a:t>
          </a:r>
          <a:r>
            <a:rPr lang="ru-RU" sz="900" b="1" dirty="0">
              <a:solidFill>
                <a:srgbClr val="0070C0"/>
              </a:solidFill>
            </a:rPr>
            <a:t>1-4 </a:t>
          </a:r>
          <a:r>
            <a:rPr lang="ru-RU" sz="900" b="1" dirty="0" smtClean="0">
              <a:solidFill>
                <a:srgbClr val="0070C0"/>
              </a:solidFill>
            </a:rPr>
            <a:t>кварталы </a:t>
          </a:r>
          <a:endParaRPr lang="ru-RU" sz="900" b="1" dirty="0">
            <a:solidFill>
              <a:srgbClr val="0070C0"/>
            </a:solidFill>
          </a:endParaRPr>
        </a:p>
        <a:p>
          <a:pPr algn="ctr"/>
          <a:r>
            <a:rPr lang="ru-RU" sz="900" b="1" dirty="0">
              <a:solidFill>
                <a:srgbClr val="FF0000"/>
              </a:solidFill>
            </a:rPr>
            <a:t>10 число месяца после </a:t>
          </a:r>
          <a:r>
            <a:rPr lang="ru-RU" sz="900" b="1" dirty="0" smtClean="0">
              <a:solidFill>
                <a:srgbClr val="FF0000"/>
              </a:solidFill>
            </a:rPr>
            <a:t/>
          </a:r>
          <a:br>
            <a:rPr lang="ru-RU" sz="900" b="1" dirty="0" smtClean="0">
              <a:solidFill>
                <a:srgbClr val="FF0000"/>
              </a:solidFill>
            </a:rPr>
          </a:br>
          <a:r>
            <a:rPr lang="ru-RU" sz="900" b="1" dirty="0" err="1" smtClean="0">
              <a:solidFill>
                <a:srgbClr val="FF0000"/>
              </a:solidFill>
            </a:rPr>
            <a:t>отч</a:t>
          </a:r>
          <a:r>
            <a:rPr lang="ru-RU" sz="900" b="1" dirty="0">
              <a:solidFill>
                <a:srgbClr val="FF0000"/>
              </a:solidFill>
            </a:rPr>
            <a:t>. кв</a:t>
          </a:r>
          <a:r>
            <a:rPr lang="ru-RU" sz="900" b="1" dirty="0">
              <a:solidFill>
                <a:srgbClr val="0070C0"/>
              </a:solidFill>
            </a:rPr>
            <a:t>.</a:t>
          </a:r>
        </a:p>
      </dgm:t>
    </dgm:pt>
    <dgm:pt modelId="{24516A9C-5446-412E-9973-FBAA97E91444}" type="sibTrans" cxnId="{B1DCA9BF-B50C-4362-B3DF-95747C913A47}">
      <dgm:prSet/>
      <dgm:spPr/>
      <dgm:t>
        <a:bodyPr/>
        <a:lstStyle/>
        <a:p>
          <a:endParaRPr lang="ru-RU"/>
        </a:p>
      </dgm:t>
    </dgm:pt>
    <dgm:pt modelId="{9E575C87-8D51-48B0-B197-27897B126B5E}" type="parTrans" cxnId="{B1DCA9BF-B50C-4362-B3DF-95747C913A47}">
      <dgm:prSet/>
      <dgm:spPr/>
      <dgm:t>
        <a:bodyPr/>
        <a:lstStyle/>
        <a:p>
          <a:endParaRPr lang="ru-RU"/>
        </a:p>
      </dgm:t>
    </dgm:pt>
    <dgm:pt modelId="{806136E5-B490-4D0D-B157-614DEDD0E23A}">
      <dgm:prSet custT="1"/>
      <dgm:spPr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88000">
              <a:schemeClr val="bg2"/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</a:gradFill>
        <a:ln>
          <a:solidFill>
            <a:schemeClr val="accent1"/>
          </a:solidFill>
        </a:ln>
      </dgm:spPr>
      <dgm:t>
        <a:bodyPr/>
        <a:lstStyle/>
        <a:p>
          <a:pPr algn="ctr"/>
          <a:r>
            <a:rPr lang="ru-RU" sz="900" b="1" dirty="0" smtClean="0">
              <a:solidFill>
                <a:srgbClr val="0070C0"/>
              </a:solidFill>
            </a:rPr>
            <a:t>Направление отчета о соблюдении условий предоставления субсидии</a:t>
          </a:r>
        </a:p>
        <a:p>
          <a:pPr algn="ctr"/>
          <a:r>
            <a:rPr lang="ru-RU" sz="900" b="1" dirty="0" smtClean="0">
              <a:solidFill>
                <a:srgbClr val="FF0000"/>
              </a:solidFill>
            </a:rPr>
            <a:t>февраль</a:t>
          </a:r>
          <a:endParaRPr lang="ru-RU" sz="900" b="1" dirty="0">
            <a:solidFill>
              <a:srgbClr val="FF0000"/>
            </a:solidFill>
          </a:endParaRPr>
        </a:p>
      </dgm:t>
    </dgm:pt>
    <dgm:pt modelId="{F5F1336E-D2F1-4E5C-9D54-27C10F2BBE30}" type="parTrans" cxnId="{175673E2-2C84-455F-B8D7-120F5EF13BC2}">
      <dgm:prSet/>
      <dgm:spPr/>
      <dgm:t>
        <a:bodyPr/>
        <a:lstStyle/>
        <a:p>
          <a:endParaRPr lang="ru-RU"/>
        </a:p>
      </dgm:t>
    </dgm:pt>
    <dgm:pt modelId="{40CFDD45-DB76-4E46-8F5F-58E4E38F13DC}" type="sibTrans" cxnId="{175673E2-2C84-455F-B8D7-120F5EF13BC2}">
      <dgm:prSet/>
      <dgm:spPr/>
      <dgm:t>
        <a:bodyPr/>
        <a:lstStyle/>
        <a:p>
          <a:endParaRPr lang="ru-RU"/>
        </a:p>
      </dgm:t>
    </dgm:pt>
    <dgm:pt modelId="{EFB377BF-29A1-491C-AC87-6912A9C1D2FE}" type="pres">
      <dgm:prSet presAssocID="{DFBD7433-F2C2-4EFA-B57A-7736B060DDC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D8877C93-1099-4EE9-9E1F-480B8EFD2E08}" type="pres">
      <dgm:prSet presAssocID="{DFBD7433-F2C2-4EFA-B57A-7736B060DDCC}" presName="Name1" presStyleCnt="0"/>
      <dgm:spPr/>
    </dgm:pt>
    <dgm:pt modelId="{5D829CEB-DC04-4525-AA94-5DD8154F5463}" type="pres">
      <dgm:prSet presAssocID="{DFBD7433-F2C2-4EFA-B57A-7736B060DDCC}" presName="cycle" presStyleCnt="0"/>
      <dgm:spPr/>
    </dgm:pt>
    <dgm:pt modelId="{E01511FD-84F2-45A7-ACE6-2F2519485AEE}" type="pres">
      <dgm:prSet presAssocID="{DFBD7433-F2C2-4EFA-B57A-7736B060DDCC}" presName="srcNode" presStyleLbl="node1" presStyleIdx="0" presStyleCnt="6"/>
      <dgm:spPr/>
    </dgm:pt>
    <dgm:pt modelId="{E7C9754B-62A0-4397-A855-BB0C2DE47EF7}" type="pres">
      <dgm:prSet presAssocID="{DFBD7433-F2C2-4EFA-B57A-7736B060DDCC}" presName="conn" presStyleLbl="parChTrans1D2" presStyleIdx="0" presStyleCnt="1"/>
      <dgm:spPr/>
      <dgm:t>
        <a:bodyPr/>
        <a:lstStyle/>
        <a:p>
          <a:endParaRPr lang="ru-RU"/>
        </a:p>
      </dgm:t>
    </dgm:pt>
    <dgm:pt modelId="{EFF00A2E-22CA-45B9-9045-E76C8ACDADF8}" type="pres">
      <dgm:prSet presAssocID="{DFBD7433-F2C2-4EFA-B57A-7736B060DDCC}" presName="extraNode" presStyleLbl="node1" presStyleIdx="0" presStyleCnt="6"/>
      <dgm:spPr/>
    </dgm:pt>
    <dgm:pt modelId="{EFDC24FF-45FA-45E6-ACDF-282609C4CA77}" type="pres">
      <dgm:prSet presAssocID="{DFBD7433-F2C2-4EFA-B57A-7736B060DDCC}" presName="dstNode" presStyleLbl="node1" presStyleIdx="0" presStyleCnt="6"/>
      <dgm:spPr/>
    </dgm:pt>
    <dgm:pt modelId="{ADCE4E40-3CA3-435E-BA89-CB3CEFCFA88D}" type="pres">
      <dgm:prSet presAssocID="{ED7EC27C-EEEE-4D71-886C-522B21BD0C55}" presName="text_1" presStyleLbl="node1" presStyleIdx="0" presStyleCnt="6" custScaleY="148042" custLinFactNeighborX="1972" custLinFactNeighborY="-42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492601D-B6F8-40A0-A823-225DE1B2B618}" type="pres">
      <dgm:prSet presAssocID="{ED7EC27C-EEEE-4D71-886C-522B21BD0C55}" presName="accent_1" presStyleCnt="0"/>
      <dgm:spPr/>
    </dgm:pt>
    <dgm:pt modelId="{0547ADDF-3F62-4B07-B2D2-0723711FA1F6}" type="pres">
      <dgm:prSet presAssocID="{ED7EC27C-EEEE-4D71-886C-522B21BD0C55}" presName="accentRepeatNode" presStyleLbl="solidFgAcc1" presStyleIdx="0" presStyleCnt="6"/>
      <dgm:spPr/>
    </dgm:pt>
    <dgm:pt modelId="{49159B24-240C-4239-889C-D75EB47589F1}" type="pres">
      <dgm:prSet presAssocID="{806136E5-B490-4D0D-B157-614DEDD0E23A}" presName="text_2" presStyleLbl="node1" presStyleIdx="1" presStyleCnt="6" custScaleX="105761" custScaleY="159036" custLinFactNeighborX="-1079" custLinFactNeighborY="-182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E79BA2D-2B7C-4979-990A-61ECDF8DFFB9}" type="pres">
      <dgm:prSet presAssocID="{806136E5-B490-4D0D-B157-614DEDD0E23A}" presName="accent_2" presStyleCnt="0"/>
      <dgm:spPr/>
    </dgm:pt>
    <dgm:pt modelId="{33B67E56-FCD9-4DE0-A8BA-84F31EE8BC61}" type="pres">
      <dgm:prSet presAssocID="{806136E5-B490-4D0D-B157-614DEDD0E23A}" presName="accentRepeatNode" presStyleLbl="solidFgAcc1" presStyleIdx="1" presStyleCnt="6"/>
      <dgm:spPr/>
    </dgm:pt>
    <dgm:pt modelId="{94511E6F-96DE-4741-BC6D-5A1EBA6BAE87}" type="pres">
      <dgm:prSet presAssocID="{865ED92B-EAB7-45DC-91E1-8C2D9AFECFDB}" presName="text_3" presStyleLbl="node1" presStyleIdx="2" presStyleCnt="6" custScaleX="104513" custScaleY="14823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F76940-F583-4580-92C7-A47D3FE8CC73}" type="pres">
      <dgm:prSet presAssocID="{865ED92B-EAB7-45DC-91E1-8C2D9AFECFDB}" presName="accent_3" presStyleCnt="0"/>
      <dgm:spPr/>
    </dgm:pt>
    <dgm:pt modelId="{554DEE06-BFCA-41EA-AA63-8ABEFEC50537}" type="pres">
      <dgm:prSet presAssocID="{865ED92B-EAB7-45DC-91E1-8C2D9AFECFDB}" presName="accentRepeatNode" presStyleLbl="solidFgAcc1" presStyleIdx="2" presStyleCnt="6"/>
      <dgm:spPr/>
    </dgm:pt>
    <dgm:pt modelId="{BFFD473A-3EA6-40C9-857E-BF35907FAB06}" type="pres">
      <dgm:prSet presAssocID="{5654229B-CA8B-4127-A325-361C24D5F127}" presName="text_4" presStyleLbl="node1" presStyleIdx="3" presStyleCnt="6" custScaleX="104513" custScaleY="14818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F5C0531-CF75-4EE8-9F2E-B784C3D42E52}" type="pres">
      <dgm:prSet presAssocID="{5654229B-CA8B-4127-A325-361C24D5F127}" presName="accent_4" presStyleCnt="0"/>
      <dgm:spPr/>
    </dgm:pt>
    <dgm:pt modelId="{CC1F4E71-C398-4067-A4F2-83DBF90E4AD7}" type="pres">
      <dgm:prSet presAssocID="{5654229B-CA8B-4127-A325-361C24D5F127}" presName="accentRepeatNode" presStyleLbl="solidFgAcc1" presStyleIdx="3" presStyleCnt="6"/>
      <dgm:spPr/>
    </dgm:pt>
    <dgm:pt modelId="{BFFB5986-BB17-41A3-815C-8D904A7035EE}" type="pres">
      <dgm:prSet presAssocID="{616E14D4-81ED-4B0C-AD7D-9D95250B2247}" presName="text_5" presStyleLbl="node1" presStyleIdx="4" presStyleCnt="6" custScaleX="105468" custScaleY="15562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1D1BAAF-A266-4138-A1E7-90D35903A8ED}" type="pres">
      <dgm:prSet presAssocID="{616E14D4-81ED-4B0C-AD7D-9D95250B2247}" presName="accent_5" presStyleCnt="0"/>
      <dgm:spPr/>
    </dgm:pt>
    <dgm:pt modelId="{D22424A7-A638-4DD4-80D3-D93B35765729}" type="pres">
      <dgm:prSet presAssocID="{616E14D4-81ED-4B0C-AD7D-9D95250B2247}" presName="accentRepeatNode" presStyleLbl="solidFgAcc1" presStyleIdx="4" presStyleCnt="6"/>
      <dgm:spPr/>
    </dgm:pt>
    <dgm:pt modelId="{11E13A87-D6B8-42EE-B3C1-07FAC65C06CE}" type="pres">
      <dgm:prSet presAssocID="{0C772C32-6E80-441F-84BA-895820BDDC64}" presName="text_6" presStyleLbl="node1" presStyleIdx="5" presStyleCnt="6" custScaleX="108279" custScaleY="15686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978DC16-116B-4F9C-9DB7-0C2C68EF1556}" type="pres">
      <dgm:prSet presAssocID="{0C772C32-6E80-441F-84BA-895820BDDC64}" presName="accent_6" presStyleCnt="0"/>
      <dgm:spPr/>
    </dgm:pt>
    <dgm:pt modelId="{B6E230B8-1DFA-49E8-ACEC-5D38D3200457}" type="pres">
      <dgm:prSet presAssocID="{0C772C32-6E80-441F-84BA-895820BDDC64}" presName="accentRepeatNode" presStyleLbl="solidFgAcc1" presStyleIdx="5" presStyleCnt="6"/>
      <dgm:spPr/>
    </dgm:pt>
  </dgm:ptLst>
  <dgm:cxnLst>
    <dgm:cxn modelId="{8CFBA571-D921-460B-AFB2-E91380D61000}" srcId="{DFBD7433-F2C2-4EFA-B57A-7736B060DDCC}" destId="{ED7EC27C-EEEE-4D71-886C-522B21BD0C55}" srcOrd="0" destOrd="0" parTransId="{4E01DDAC-AB0C-4B59-A054-2ABBED9D6D82}" sibTransId="{0C07B60F-34B6-4B40-8821-128406234B10}"/>
    <dgm:cxn modelId="{900F758E-3BE9-400C-9C66-C8BB57D7ED2D}" type="presOf" srcId="{ED7EC27C-EEEE-4D71-886C-522B21BD0C55}" destId="{ADCE4E40-3CA3-435E-BA89-CB3CEFCFA88D}" srcOrd="0" destOrd="0" presId="urn:microsoft.com/office/officeart/2008/layout/VerticalCurvedList"/>
    <dgm:cxn modelId="{CCAD097C-A4D4-4643-8A78-B7C292561B8A}" type="presOf" srcId="{0C07B60F-34B6-4B40-8821-128406234B10}" destId="{E7C9754B-62A0-4397-A855-BB0C2DE47EF7}" srcOrd="0" destOrd="0" presId="urn:microsoft.com/office/officeart/2008/layout/VerticalCurvedList"/>
    <dgm:cxn modelId="{3BDDD46C-1D2B-48A7-A456-58276A900731}" srcId="{DFBD7433-F2C2-4EFA-B57A-7736B060DDCC}" destId="{0C772C32-6E80-441F-84BA-895820BDDC64}" srcOrd="5" destOrd="0" parTransId="{82FC6B2B-D13E-415A-BDEC-661867EC7E79}" sibTransId="{6C4A3CF9-0576-4AA6-BC2C-09AE61914BDC}"/>
    <dgm:cxn modelId="{CB78827E-2C57-4962-9F2A-A17E590A1D72}" type="presOf" srcId="{806136E5-B490-4D0D-B157-614DEDD0E23A}" destId="{49159B24-240C-4239-889C-D75EB47589F1}" srcOrd="0" destOrd="0" presId="urn:microsoft.com/office/officeart/2008/layout/VerticalCurvedList"/>
    <dgm:cxn modelId="{CDF54659-E807-40B4-8C06-010936DE0BF4}" type="presOf" srcId="{865ED92B-EAB7-45DC-91E1-8C2D9AFECFDB}" destId="{94511E6F-96DE-4741-BC6D-5A1EBA6BAE87}" srcOrd="0" destOrd="0" presId="urn:microsoft.com/office/officeart/2008/layout/VerticalCurvedList"/>
    <dgm:cxn modelId="{B1DCA9BF-B50C-4362-B3DF-95747C913A47}" srcId="{DFBD7433-F2C2-4EFA-B57A-7736B060DDCC}" destId="{616E14D4-81ED-4B0C-AD7D-9D95250B2247}" srcOrd="4" destOrd="0" parTransId="{9E575C87-8D51-48B0-B197-27897B126B5E}" sibTransId="{24516A9C-5446-412E-9973-FBAA97E91444}"/>
    <dgm:cxn modelId="{6C76E8DD-8735-4AE1-B339-1B780D5E3001}" type="presOf" srcId="{DFBD7433-F2C2-4EFA-B57A-7736B060DDCC}" destId="{EFB377BF-29A1-491C-AC87-6912A9C1D2FE}" srcOrd="0" destOrd="0" presId="urn:microsoft.com/office/officeart/2008/layout/VerticalCurvedList"/>
    <dgm:cxn modelId="{1FDC90AC-DEDE-4A0B-BA7D-02602A3D531F}" type="presOf" srcId="{5654229B-CA8B-4127-A325-361C24D5F127}" destId="{BFFD473A-3EA6-40C9-857E-BF35907FAB06}" srcOrd="0" destOrd="0" presId="urn:microsoft.com/office/officeart/2008/layout/VerticalCurvedList"/>
    <dgm:cxn modelId="{AAFC51F4-F6BC-499B-B5AD-FBC6E99DBCBF}" type="presOf" srcId="{0C772C32-6E80-441F-84BA-895820BDDC64}" destId="{11E13A87-D6B8-42EE-B3C1-07FAC65C06CE}" srcOrd="0" destOrd="0" presId="urn:microsoft.com/office/officeart/2008/layout/VerticalCurvedList"/>
    <dgm:cxn modelId="{C330A3AF-B5E9-4D16-BDDA-0B0ABDD3FD24}" srcId="{DFBD7433-F2C2-4EFA-B57A-7736B060DDCC}" destId="{5654229B-CA8B-4127-A325-361C24D5F127}" srcOrd="3" destOrd="0" parTransId="{13155023-63BE-4CB2-BA84-90126EC24CE4}" sibTransId="{CF9BDC04-ACE6-4DBE-A980-11B13BEDE577}"/>
    <dgm:cxn modelId="{175673E2-2C84-455F-B8D7-120F5EF13BC2}" srcId="{DFBD7433-F2C2-4EFA-B57A-7736B060DDCC}" destId="{806136E5-B490-4D0D-B157-614DEDD0E23A}" srcOrd="1" destOrd="0" parTransId="{F5F1336E-D2F1-4E5C-9D54-27C10F2BBE30}" sibTransId="{40CFDD45-DB76-4E46-8F5F-58E4E38F13DC}"/>
    <dgm:cxn modelId="{7BE8B9BB-4F29-4FCA-A743-6A58910D668C}" type="presOf" srcId="{616E14D4-81ED-4B0C-AD7D-9D95250B2247}" destId="{BFFB5986-BB17-41A3-815C-8D904A7035EE}" srcOrd="0" destOrd="0" presId="urn:microsoft.com/office/officeart/2008/layout/VerticalCurvedList"/>
    <dgm:cxn modelId="{C684A6C6-E383-44E4-9117-949D4E61A4BA}" srcId="{DFBD7433-F2C2-4EFA-B57A-7736B060DDCC}" destId="{865ED92B-EAB7-45DC-91E1-8C2D9AFECFDB}" srcOrd="2" destOrd="0" parTransId="{2E5B9EE5-C726-4378-82F9-E4236E2F4786}" sibTransId="{CC3B9377-76D8-4D19-B9EE-B15A061863E9}"/>
    <dgm:cxn modelId="{E466FA18-AC7A-4021-A136-ABD689CDF73A}" type="presParOf" srcId="{EFB377BF-29A1-491C-AC87-6912A9C1D2FE}" destId="{D8877C93-1099-4EE9-9E1F-480B8EFD2E08}" srcOrd="0" destOrd="0" presId="urn:microsoft.com/office/officeart/2008/layout/VerticalCurvedList"/>
    <dgm:cxn modelId="{E6E1E623-FA9D-4608-9375-DDA0E9FF4FC1}" type="presParOf" srcId="{D8877C93-1099-4EE9-9E1F-480B8EFD2E08}" destId="{5D829CEB-DC04-4525-AA94-5DD8154F5463}" srcOrd="0" destOrd="0" presId="urn:microsoft.com/office/officeart/2008/layout/VerticalCurvedList"/>
    <dgm:cxn modelId="{F2C7207A-8874-4989-BBAF-465A5354E679}" type="presParOf" srcId="{5D829CEB-DC04-4525-AA94-5DD8154F5463}" destId="{E01511FD-84F2-45A7-ACE6-2F2519485AEE}" srcOrd="0" destOrd="0" presId="urn:microsoft.com/office/officeart/2008/layout/VerticalCurvedList"/>
    <dgm:cxn modelId="{0A8957CB-6305-4DC1-8816-BBC1630857A2}" type="presParOf" srcId="{5D829CEB-DC04-4525-AA94-5DD8154F5463}" destId="{E7C9754B-62A0-4397-A855-BB0C2DE47EF7}" srcOrd="1" destOrd="0" presId="urn:microsoft.com/office/officeart/2008/layout/VerticalCurvedList"/>
    <dgm:cxn modelId="{85AC9303-8B5F-42CB-899F-B4B94AC2E96F}" type="presParOf" srcId="{5D829CEB-DC04-4525-AA94-5DD8154F5463}" destId="{EFF00A2E-22CA-45B9-9045-E76C8ACDADF8}" srcOrd="2" destOrd="0" presId="urn:microsoft.com/office/officeart/2008/layout/VerticalCurvedList"/>
    <dgm:cxn modelId="{4965D644-47E0-4D74-8AB0-1647C4F44BD7}" type="presParOf" srcId="{5D829CEB-DC04-4525-AA94-5DD8154F5463}" destId="{EFDC24FF-45FA-45E6-ACDF-282609C4CA77}" srcOrd="3" destOrd="0" presId="urn:microsoft.com/office/officeart/2008/layout/VerticalCurvedList"/>
    <dgm:cxn modelId="{9563E0CB-C615-421F-80E5-E841A04B0C23}" type="presParOf" srcId="{D8877C93-1099-4EE9-9E1F-480B8EFD2E08}" destId="{ADCE4E40-3CA3-435E-BA89-CB3CEFCFA88D}" srcOrd="1" destOrd="0" presId="urn:microsoft.com/office/officeart/2008/layout/VerticalCurvedList"/>
    <dgm:cxn modelId="{DCF78F48-4D3B-4D41-B13C-086818F7DD68}" type="presParOf" srcId="{D8877C93-1099-4EE9-9E1F-480B8EFD2E08}" destId="{6492601D-B6F8-40A0-A823-225DE1B2B618}" srcOrd="2" destOrd="0" presId="urn:microsoft.com/office/officeart/2008/layout/VerticalCurvedList"/>
    <dgm:cxn modelId="{43B2BA94-2013-45B9-935B-B9180E7774FF}" type="presParOf" srcId="{6492601D-B6F8-40A0-A823-225DE1B2B618}" destId="{0547ADDF-3F62-4B07-B2D2-0723711FA1F6}" srcOrd="0" destOrd="0" presId="urn:microsoft.com/office/officeart/2008/layout/VerticalCurvedList"/>
    <dgm:cxn modelId="{14AB2824-C306-47BF-8752-42E01E8EC89D}" type="presParOf" srcId="{D8877C93-1099-4EE9-9E1F-480B8EFD2E08}" destId="{49159B24-240C-4239-889C-D75EB47589F1}" srcOrd="3" destOrd="0" presId="urn:microsoft.com/office/officeart/2008/layout/VerticalCurvedList"/>
    <dgm:cxn modelId="{523446AD-6486-426E-BEEE-3222E6F881EB}" type="presParOf" srcId="{D8877C93-1099-4EE9-9E1F-480B8EFD2E08}" destId="{3E79BA2D-2B7C-4979-990A-61ECDF8DFFB9}" srcOrd="4" destOrd="0" presId="urn:microsoft.com/office/officeart/2008/layout/VerticalCurvedList"/>
    <dgm:cxn modelId="{ED5B18CD-DE98-49CB-80D0-62AC4DEB321D}" type="presParOf" srcId="{3E79BA2D-2B7C-4979-990A-61ECDF8DFFB9}" destId="{33B67E56-FCD9-4DE0-A8BA-84F31EE8BC61}" srcOrd="0" destOrd="0" presId="urn:microsoft.com/office/officeart/2008/layout/VerticalCurvedList"/>
    <dgm:cxn modelId="{FBA915CF-5D6E-4AFC-8D73-C5CD6F88D885}" type="presParOf" srcId="{D8877C93-1099-4EE9-9E1F-480B8EFD2E08}" destId="{94511E6F-96DE-4741-BC6D-5A1EBA6BAE87}" srcOrd="5" destOrd="0" presId="urn:microsoft.com/office/officeart/2008/layout/VerticalCurvedList"/>
    <dgm:cxn modelId="{1872BF7C-778A-4228-B799-AB02593167F7}" type="presParOf" srcId="{D8877C93-1099-4EE9-9E1F-480B8EFD2E08}" destId="{F3F76940-F583-4580-92C7-A47D3FE8CC73}" srcOrd="6" destOrd="0" presId="urn:microsoft.com/office/officeart/2008/layout/VerticalCurvedList"/>
    <dgm:cxn modelId="{8676D642-4604-471C-AB67-AF1FDAD8CE6C}" type="presParOf" srcId="{F3F76940-F583-4580-92C7-A47D3FE8CC73}" destId="{554DEE06-BFCA-41EA-AA63-8ABEFEC50537}" srcOrd="0" destOrd="0" presId="urn:microsoft.com/office/officeart/2008/layout/VerticalCurvedList"/>
    <dgm:cxn modelId="{B83BE1EE-FD8A-4FCB-AEF2-97D97CABE163}" type="presParOf" srcId="{D8877C93-1099-4EE9-9E1F-480B8EFD2E08}" destId="{BFFD473A-3EA6-40C9-857E-BF35907FAB06}" srcOrd="7" destOrd="0" presId="urn:microsoft.com/office/officeart/2008/layout/VerticalCurvedList"/>
    <dgm:cxn modelId="{D10D18B2-FACB-418F-96AB-32405FC36648}" type="presParOf" srcId="{D8877C93-1099-4EE9-9E1F-480B8EFD2E08}" destId="{DF5C0531-CF75-4EE8-9F2E-B784C3D42E52}" srcOrd="8" destOrd="0" presId="urn:microsoft.com/office/officeart/2008/layout/VerticalCurvedList"/>
    <dgm:cxn modelId="{9A075A44-B3C0-4D05-B888-766BB3C7C88C}" type="presParOf" srcId="{DF5C0531-CF75-4EE8-9F2E-B784C3D42E52}" destId="{CC1F4E71-C398-4067-A4F2-83DBF90E4AD7}" srcOrd="0" destOrd="0" presId="urn:microsoft.com/office/officeart/2008/layout/VerticalCurvedList"/>
    <dgm:cxn modelId="{57DABA21-E5A6-40CB-A4BE-9C7ADBE699F2}" type="presParOf" srcId="{D8877C93-1099-4EE9-9E1F-480B8EFD2E08}" destId="{BFFB5986-BB17-41A3-815C-8D904A7035EE}" srcOrd="9" destOrd="0" presId="urn:microsoft.com/office/officeart/2008/layout/VerticalCurvedList"/>
    <dgm:cxn modelId="{C3F5FC59-309D-4E96-BA27-55CD6457538C}" type="presParOf" srcId="{D8877C93-1099-4EE9-9E1F-480B8EFD2E08}" destId="{B1D1BAAF-A266-4138-A1E7-90D35903A8ED}" srcOrd="10" destOrd="0" presId="urn:microsoft.com/office/officeart/2008/layout/VerticalCurvedList"/>
    <dgm:cxn modelId="{68B7E957-DB62-4CC9-8A28-7820AAE5D00E}" type="presParOf" srcId="{B1D1BAAF-A266-4138-A1E7-90D35903A8ED}" destId="{D22424A7-A638-4DD4-80D3-D93B35765729}" srcOrd="0" destOrd="0" presId="urn:microsoft.com/office/officeart/2008/layout/VerticalCurvedList"/>
    <dgm:cxn modelId="{2EF8B1AA-4ABD-4253-A28C-FDC75F963254}" type="presParOf" srcId="{D8877C93-1099-4EE9-9E1F-480B8EFD2E08}" destId="{11E13A87-D6B8-42EE-B3C1-07FAC65C06CE}" srcOrd="11" destOrd="0" presId="urn:microsoft.com/office/officeart/2008/layout/VerticalCurvedList"/>
    <dgm:cxn modelId="{29FC3C35-932D-40B5-A129-20C410EA21AC}" type="presParOf" srcId="{D8877C93-1099-4EE9-9E1F-480B8EFD2E08}" destId="{2978DC16-116B-4F9C-9DB7-0C2C68EF1556}" srcOrd="12" destOrd="0" presId="urn:microsoft.com/office/officeart/2008/layout/VerticalCurvedList"/>
    <dgm:cxn modelId="{3E8AED31-56A9-4861-BE02-9C08FCCACCBA}" type="presParOf" srcId="{2978DC16-116B-4F9C-9DB7-0C2C68EF1556}" destId="{B6E230B8-1DFA-49E8-ACEC-5D38D3200457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E23EFD6-2CAF-466B-B7C2-17B99ACDE6A9}">
      <dsp:nvSpPr>
        <dsp:cNvPr id="0" name=""/>
        <dsp:cNvSpPr/>
      </dsp:nvSpPr>
      <dsp:spPr>
        <a:xfrm>
          <a:off x="997664" y="-46846"/>
          <a:ext cx="4138134" cy="4138134"/>
        </a:xfrm>
        <a:prstGeom prst="circularArrow">
          <a:avLst>
            <a:gd name="adj1" fmla="val 5544"/>
            <a:gd name="adj2" fmla="val 330680"/>
            <a:gd name="adj3" fmla="val 14778764"/>
            <a:gd name="adj4" fmla="val 16801093"/>
            <a:gd name="adj5" fmla="val 5757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DB09F85-328A-4352-996D-0EB7327F3061}">
      <dsp:nvSpPr>
        <dsp:cNvPr id="0" name=""/>
        <dsp:cNvSpPr/>
      </dsp:nvSpPr>
      <dsp:spPr>
        <a:xfrm>
          <a:off x="2544129" y="1651"/>
          <a:ext cx="1045204" cy="52260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>
              <a:solidFill>
                <a:srgbClr val="002060"/>
              </a:solidFill>
            </a:rPr>
            <a:t>Выявление кадастровых кварталов</a:t>
          </a:r>
          <a:endParaRPr lang="ru-RU" sz="1000" b="1" kern="1200" dirty="0">
            <a:solidFill>
              <a:srgbClr val="002060"/>
            </a:solidFill>
          </a:endParaRPr>
        </a:p>
      </dsp:txBody>
      <dsp:txXfrm>
        <a:off x="2569640" y="27162"/>
        <a:ext cx="994182" cy="471580"/>
      </dsp:txXfrm>
    </dsp:sp>
    <dsp:sp modelId="{07583506-A9E4-49C2-AA32-A4DCE437249A}">
      <dsp:nvSpPr>
        <dsp:cNvPr id="0" name=""/>
        <dsp:cNvSpPr/>
      </dsp:nvSpPr>
      <dsp:spPr>
        <a:xfrm>
          <a:off x="3678433" y="414503"/>
          <a:ext cx="1045204" cy="52260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>
              <a:solidFill>
                <a:srgbClr val="002060"/>
              </a:solidFill>
            </a:rPr>
            <a:t>Подача заявок на субсидию</a:t>
          </a:r>
          <a:endParaRPr lang="ru-RU" sz="1000" b="1" kern="1200" dirty="0">
            <a:solidFill>
              <a:srgbClr val="002060"/>
            </a:solidFill>
          </a:endParaRPr>
        </a:p>
      </dsp:txBody>
      <dsp:txXfrm>
        <a:off x="3703944" y="440014"/>
        <a:ext cx="994182" cy="471580"/>
      </dsp:txXfrm>
    </dsp:sp>
    <dsp:sp modelId="{697CE3BD-C858-4E11-AF9A-8B261CCE402E}">
      <dsp:nvSpPr>
        <dsp:cNvPr id="0" name=""/>
        <dsp:cNvSpPr/>
      </dsp:nvSpPr>
      <dsp:spPr>
        <a:xfrm>
          <a:off x="4281983" y="1459883"/>
          <a:ext cx="1045204" cy="52260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>
              <a:solidFill>
                <a:srgbClr val="002060"/>
              </a:solidFill>
            </a:rPr>
            <a:t>Отбор субъектов РФ</a:t>
          </a:r>
          <a:endParaRPr lang="ru-RU" sz="1000" b="1" kern="1200" dirty="0">
            <a:solidFill>
              <a:srgbClr val="002060"/>
            </a:solidFill>
          </a:endParaRPr>
        </a:p>
      </dsp:txBody>
      <dsp:txXfrm>
        <a:off x="4307494" y="1485394"/>
        <a:ext cx="994182" cy="471580"/>
      </dsp:txXfrm>
    </dsp:sp>
    <dsp:sp modelId="{749A42A6-60DE-475E-931C-B9B994062EB9}">
      <dsp:nvSpPr>
        <dsp:cNvPr id="0" name=""/>
        <dsp:cNvSpPr/>
      </dsp:nvSpPr>
      <dsp:spPr>
        <a:xfrm>
          <a:off x="3867366" y="2648645"/>
          <a:ext cx="1455217" cy="52260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>
              <a:solidFill>
                <a:srgbClr val="002060"/>
              </a:solidFill>
            </a:rPr>
            <a:t>Заключение соглашений о предоставлении субсидии</a:t>
          </a:r>
          <a:endParaRPr lang="ru-RU" sz="1000" b="1" kern="1200" dirty="0">
            <a:solidFill>
              <a:srgbClr val="002060"/>
            </a:solidFill>
          </a:endParaRPr>
        </a:p>
      </dsp:txBody>
      <dsp:txXfrm>
        <a:off x="3892877" y="2674156"/>
        <a:ext cx="1404195" cy="471580"/>
      </dsp:txXfrm>
    </dsp:sp>
    <dsp:sp modelId="{9AFD5DC3-06D0-4608-BA24-9430701FB9E2}">
      <dsp:nvSpPr>
        <dsp:cNvPr id="0" name=""/>
        <dsp:cNvSpPr/>
      </dsp:nvSpPr>
      <dsp:spPr>
        <a:xfrm>
          <a:off x="3147679" y="3424554"/>
          <a:ext cx="1045204" cy="52260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>
              <a:solidFill>
                <a:srgbClr val="002060"/>
              </a:solidFill>
            </a:rPr>
            <a:t>Конкурсные процедуры и заключение контрактов</a:t>
          </a:r>
          <a:endParaRPr lang="ru-RU" sz="1000" b="1" kern="1200" dirty="0">
            <a:solidFill>
              <a:srgbClr val="002060"/>
            </a:solidFill>
          </a:endParaRPr>
        </a:p>
      </dsp:txBody>
      <dsp:txXfrm>
        <a:off x="3173190" y="3450065"/>
        <a:ext cx="994182" cy="471580"/>
      </dsp:txXfrm>
    </dsp:sp>
    <dsp:sp modelId="{A1E7EFED-74B5-4C4C-A2C9-AB4008B39B8C}">
      <dsp:nvSpPr>
        <dsp:cNvPr id="0" name=""/>
        <dsp:cNvSpPr/>
      </dsp:nvSpPr>
      <dsp:spPr>
        <a:xfrm>
          <a:off x="1940579" y="3424554"/>
          <a:ext cx="1045204" cy="52260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>
              <a:solidFill>
                <a:srgbClr val="002060"/>
              </a:solidFill>
            </a:rPr>
            <a:t>Выполнение ККР и подготовка КПТР</a:t>
          </a:r>
          <a:endParaRPr lang="ru-RU" sz="1000" b="1" kern="1200" dirty="0">
            <a:solidFill>
              <a:srgbClr val="002060"/>
            </a:solidFill>
          </a:endParaRPr>
        </a:p>
      </dsp:txBody>
      <dsp:txXfrm>
        <a:off x="1966090" y="3450065"/>
        <a:ext cx="994182" cy="471580"/>
      </dsp:txXfrm>
    </dsp:sp>
    <dsp:sp modelId="{0C728189-B67B-4AC0-B84D-93F61CA39E1E}">
      <dsp:nvSpPr>
        <dsp:cNvPr id="0" name=""/>
        <dsp:cNvSpPr/>
      </dsp:nvSpPr>
      <dsp:spPr>
        <a:xfrm>
          <a:off x="909887" y="2648645"/>
          <a:ext cx="1257203" cy="52260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>
              <a:solidFill>
                <a:srgbClr val="002060"/>
              </a:solidFill>
            </a:rPr>
            <a:t>Согласительные комиссии</a:t>
          </a:r>
          <a:endParaRPr lang="ru-RU" sz="1000" b="1" kern="1200" dirty="0">
            <a:solidFill>
              <a:srgbClr val="002060"/>
            </a:solidFill>
          </a:endParaRPr>
        </a:p>
      </dsp:txBody>
      <dsp:txXfrm>
        <a:off x="935398" y="2674156"/>
        <a:ext cx="1206181" cy="471580"/>
      </dsp:txXfrm>
    </dsp:sp>
    <dsp:sp modelId="{2F7322A1-6C05-4BB5-9DB7-BB76963233FA}">
      <dsp:nvSpPr>
        <dsp:cNvPr id="0" name=""/>
        <dsp:cNvSpPr/>
      </dsp:nvSpPr>
      <dsp:spPr>
        <a:xfrm>
          <a:off x="806276" y="1459883"/>
          <a:ext cx="1045204" cy="52260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>
              <a:solidFill>
                <a:srgbClr val="002060"/>
              </a:solidFill>
              <a:latin typeface="+mn-lt"/>
            </a:rPr>
            <a:t>Утверждение КПТР</a:t>
          </a:r>
          <a:endParaRPr lang="ru-RU" sz="1000" b="1" kern="1200" dirty="0">
            <a:solidFill>
              <a:srgbClr val="002060"/>
            </a:solidFill>
            <a:latin typeface="+mn-lt"/>
          </a:endParaRPr>
        </a:p>
      </dsp:txBody>
      <dsp:txXfrm>
        <a:off x="831787" y="1485394"/>
        <a:ext cx="994182" cy="471580"/>
      </dsp:txXfrm>
    </dsp:sp>
    <dsp:sp modelId="{6487B19A-2ECB-4DCD-928A-27F18B5F9F00}">
      <dsp:nvSpPr>
        <dsp:cNvPr id="0" name=""/>
        <dsp:cNvSpPr/>
      </dsp:nvSpPr>
      <dsp:spPr>
        <a:xfrm>
          <a:off x="1409826" y="414503"/>
          <a:ext cx="1045204" cy="52260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>
              <a:solidFill>
                <a:srgbClr val="002060"/>
              </a:solidFill>
              <a:latin typeface="+mn-lt"/>
            </a:rPr>
            <a:t>Внесение сведений в ЕГРН</a:t>
          </a:r>
          <a:endParaRPr lang="ru-RU" sz="1000" b="1" kern="1200" dirty="0">
            <a:solidFill>
              <a:srgbClr val="002060"/>
            </a:solidFill>
            <a:latin typeface="+mn-lt"/>
          </a:endParaRPr>
        </a:p>
      </dsp:txBody>
      <dsp:txXfrm>
        <a:off x="1435337" y="440014"/>
        <a:ext cx="994182" cy="47158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C9754B-62A0-4397-A855-BB0C2DE47EF7}">
      <dsp:nvSpPr>
        <dsp:cNvPr id="0" name=""/>
        <dsp:cNvSpPr/>
      </dsp:nvSpPr>
      <dsp:spPr>
        <a:xfrm>
          <a:off x="-4923227" y="-285467"/>
          <a:ext cx="5788919" cy="5788919"/>
        </a:xfrm>
        <a:prstGeom prst="blockArc">
          <a:avLst>
            <a:gd name="adj1" fmla="val 18900000"/>
            <a:gd name="adj2" fmla="val 2700000"/>
            <a:gd name="adj3" fmla="val 373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DCE4E40-3CA3-435E-BA89-CB3CEFCFA88D}">
      <dsp:nvSpPr>
        <dsp:cNvPr id="0" name=""/>
        <dsp:cNvSpPr/>
      </dsp:nvSpPr>
      <dsp:spPr>
        <a:xfrm>
          <a:off x="343547" y="558001"/>
          <a:ext cx="3033942" cy="67006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44260">
              <a:srgbClr val="E4EEFA"/>
            </a:gs>
            <a:gs pos="40000">
              <a:schemeClr val="bg2"/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59267" tIns="22860" rIns="22860" bIns="2286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 smtClean="0">
              <a:solidFill>
                <a:srgbClr val="0070C0"/>
              </a:solidFill>
            </a:rPr>
            <a:t>Направление оперативной информации </a:t>
          </a:r>
          <a:endParaRPr lang="en-US" sz="900" b="1" kern="1200" dirty="0" smtClean="0">
            <a:solidFill>
              <a:srgbClr val="0070C0"/>
            </a:solidFill>
          </a:endParaRP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 smtClean="0">
              <a:solidFill>
                <a:srgbClr val="0070C0"/>
              </a:solidFill>
            </a:rPr>
            <a:t>о </a:t>
          </a:r>
          <a:r>
            <a:rPr lang="ru-RU" sz="900" b="1" kern="1200" dirty="0">
              <a:solidFill>
                <a:srgbClr val="0070C0"/>
              </a:solidFill>
            </a:rPr>
            <a:t>ходе исполнения </a:t>
          </a: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solidFill>
                <a:srgbClr val="FF0000"/>
              </a:solidFill>
            </a:rPr>
            <a:t>еженедельно</a:t>
          </a:r>
        </a:p>
      </dsp:txBody>
      <dsp:txXfrm>
        <a:off x="343547" y="558001"/>
        <a:ext cx="3033942" cy="670066"/>
      </dsp:txXfrm>
    </dsp:sp>
    <dsp:sp modelId="{0547ADDF-3F62-4B07-B2D2-0723711FA1F6}">
      <dsp:nvSpPr>
        <dsp:cNvPr id="0" name=""/>
        <dsp:cNvSpPr/>
      </dsp:nvSpPr>
      <dsp:spPr>
        <a:xfrm>
          <a:off x="830" y="629212"/>
          <a:ext cx="565774" cy="565774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49159B24-240C-4239-889C-D75EB47589F1}">
      <dsp:nvSpPr>
        <dsp:cNvPr id="0" name=""/>
        <dsp:cNvSpPr/>
      </dsp:nvSpPr>
      <dsp:spPr>
        <a:xfrm>
          <a:off x="550640" y="1222754"/>
          <a:ext cx="2814969" cy="719827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88000">
              <a:schemeClr val="bg2"/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solidFill>
            <a:schemeClr val="accent1"/>
          </a:solidFill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59267" tIns="22860" rIns="22860" bIns="2286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 smtClean="0">
              <a:solidFill>
                <a:srgbClr val="0070C0"/>
              </a:solidFill>
            </a:rPr>
            <a:t>Направление отчета о соблюдении условий предоставления субсидии</a:t>
          </a: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 smtClean="0">
              <a:solidFill>
                <a:srgbClr val="FF0000"/>
              </a:solidFill>
            </a:rPr>
            <a:t>февраль</a:t>
          </a:r>
          <a:endParaRPr lang="ru-RU" sz="900" b="1" kern="1200" dirty="0">
            <a:solidFill>
              <a:srgbClr val="FF0000"/>
            </a:solidFill>
          </a:endParaRPr>
        </a:p>
      </dsp:txBody>
      <dsp:txXfrm>
        <a:off x="550640" y="1222754"/>
        <a:ext cx="2814969" cy="719827"/>
      </dsp:txXfrm>
    </dsp:sp>
    <dsp:sp modelId="{33B67E56-FCD9-4DE0-A8BA-84F31EE8BC61}">
      <dsp:nvSpPr>
        <dsp:cNvPr id="0" name=""/>
        <dsp:cNvSpPr/>
      </dsp:nvSpPr>
      <dsp:spPr>
        <a:xfrm>
          <a:off x="373141" y="1308055"/>
          <a:ext cx="565774" cy="565774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94511E6F-96DE-4741-BC6D-5A1EBA6BAE87}">
      <dsp:nvSpPr>
        <dsp:cNvPr id="0" name=""/>
        <dsp:cNvSpPr/>
      </dsp:nvSpPr>
      <dsp:spPr>
        <a:xfrm>
          <a:off x="770058" y="1934306"/>
          <a:ext cx="2603820" cy="670958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80000">
              <a:schemeClr val="bg2"/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59267" tIns="22860" rIns="22860" bIns="2286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solidFill>
                <a:srgbClr val="0070C0"/>
              </a:solidFill>
            </a:rPr>
            <a:t>Проведение заседаний рабочих групп</a:t>
          </a: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solidFill>
                <a:srgbClr val="FF0000"/>
              </a:solidFill>
            </a:rPr>
            <a:t>не реже 1 раза в месяц</a:t>
          </a:r>
        </a:p>
      </dsp:txBody>
      <dsp:txXfrm>
        <a:off x="770058" y="1934306"/>
        <a:ext cx="2603820" cy="670958"/>
      </dsp:txXfrm>
    </dsp:sp>
    <dsp:sp modelId="{554DEE06-BFCA-41EA-AA63-8ABEFEC50537}">
      <dsp:nvSpPr>
        <dsp:cNvPr id="0" name=""/>
        <dsp:cNvSpPr/>
      </dsp:nvSpPr>
      <dsp:spPr>
        <a:xfrm>
          <a:off x="543389" y="1986898"/>
          <a:ext cx="565774" cy="565774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BFFD473A-3EA6-40C9-857E-BF35907FAB06}">
      <dsp:nvSpPr>
        <dsp:cNvPr id="0" name=""/>
        <dsp:cNvSpPr/>
      </dsp:nvSpPr>
      <dsp:spPr>
        <a:xfrm>
          <a:off x="770058" y="2612848"/>
          <a:ext cx="2603820" cy="6707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72708">
              <a:schemeClr val="bg2"/>
            </a:gs>
            <a:gs pos="88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59267" tIns="22860" rIns="22860" bIns="2286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solidFill>
                <a:srgbClr val="0070C0"/>
              </a:solidFill>
            </a:rPr>
            <a:t>Проведение селекторных совещаний </a:t>
          </a: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solidFill>
                <a:srgbClr val="FF0000"/>
              </a:solidFill>
            </a:rPr>
            <a:t>1 раз в 2 месяца</a:t>
          </a:r>
        </a:p>
      </dsp:txBody>
      <dsp:txXfrm>
        <a:off x="770058" y="2612848"/>
        <a:ext cx="2603820" cy="670700"/>
      </dsp:txXfrm>
    </dsp:sp>
    <dsp:sp modelId="{CC1F4E71-C398-4067-A4F2-83DBF90E4AD7}">
      <dsp:nvSpPr>
        <dsp:cNvPr id="0" name=""/>
        <dsp:cNvSpPr/>
      </dsp:nvSpPr>
      <dsp:spPr>
        <a:xfrm>
          <a:off x="543389" y="2665311"/>
          <a:ext cx="565774" cy="565774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BFFB5986-BB17-41A3-815C-8D904A7035EE}">
      <dsp:nvSpPr>
        <dsp:cNvPr id="0" name=""/>
        <dsp:cNvSpPr/>
      </dsp:nvSpPr>
      <dsp:spPr>
        <a:xfrm>
          <a:off x="583259" y="3274842"/>
          <a:ext cx="2807170" cy="704397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82000">
              <a:schemeClr val="bg2"/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59267" tIns="22860" rIns="22860" bIns="2286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solidFill>
                <a:srgbClr val="0070C0"/>
              </a:solidFill>
            </a:rPr>
            <a:t>Предоставление отчетов о расходах </a:t>
          </a:r>
          <a:endParaRPr lang="en-US" sz="900" b="1" kern="1200" dirty="0" smtClean="0">
            <a:solidFill>
              <a:srgbClr val="0070C0"/>
            </a:solidFill>
          </a:endParaRP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 smtClean="0">
              <a:solidFill>
                <a:srgbClr val="0070C0"/>
              </a:solidFill>
            </a:rPr>
            <a:t>за </a:t>
          </a:r>
          <a:r>
            <a:rPr lang="ru-RU" sz="900" b="1" kern="1200" dirty="0">
              <a:solidFill>
                <a:srgbClr val="0070C0"/>
              </a:solidFill>
            </a:rPr>
            <a:t>1-4 </a:t>
          </a:r>
          <a:r>
            <a:rPr lang="ru-RU" sz="900" b="1" kern="1200" dirty="0" smtClean="0">
              <a:solidFill>
                <a:srgbClr val="0070C0"/>
              </a:solidFill>
            </a:rPr>
            <a:t>кварталы </a:t>
          </a:r>
          <a:endParaRPr lang="ru-RU" sz="900" b="1" kern="1200" dirty="0">
            <a:solidFill>
              <a:srgbClr val="0070C0"/>
            </a:solidFill>
          </a:endParaRP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solidFill>
                <a:srgbClr val="FF0000"/>
              </a:solidFill>
            </a:rPr>
            <a:t>10 число месяца после </a:t>
          </a:r>
          <a:r>
            <a:rPr lang="ru-RU" sz="900" b="1" kern="1200" dirty="0" smtClean="0">
              <a:solidFill>
                <a:srgbClr val="FF0000"/>
              </a:solidFill>
            </a:rPr>
            <a:t/>
          </a:r>
          <a:br>
            <a:rPr lang="ru-RU" sz="900" b="1" kern="1200" dirty="0" smtClean="0">
              <a:solidFill>
                <a:srgbClr val="FF0000"/>
              </a:solidFill>
            </a:rPr>
          </a:br>
          <a:r>
            <a:rPr lang="ru-RU" sz="900" b="1" kern="1200" dirty="0" err="1" smtClean="0">
              <a:solidFill>
                <a:srgbClr val="FF0000"/>
              </a:solidFill>
            </a:rPr>
            <a:t>отч</a:t>
          </a:r>
          <a:r>
            <a:rPr lang="ru-RU" sz="900" b="1" kern="1200" dirty="0">
              <a:solidFill>
                <a:srgbClr val="FF0000"/>
              </a:solidFill>
            </a:rPr>
            <a:t>. кв</a:t>
          </a:r>
          <a:r>
            <a:rPr lang="ru-RU" sz="900" b="1" kern="1200" dirty="0">
              <a:solidFill>
                <a:srgbClr val="0070C0"/>
              </a:solidFill>
            </a:rPr>
            <a:t>.</a:t>
          </a:r>
        </a:p>
      </dsp:txBody>
      <dsp:txXfrm>
        <a:off x="583259" y="3274842"/>
        <a:ext cx="2807170" cy="704397"/>
      </dsp:txXfrm>
    </dsp:sp>
    <dsp:sp modelId="{D22424A7-A638-4DD4-80D3-D93B35765729}">
      <dsp:nvSpPr>
        <dsp:cNvPr id="0" name=""/>
        <dsp:cNvSpPr/>
      </dsp:nvSpPr>
      <dsp:spPr>
        <a:xfrm>
          <a:off x="373141" y="3344154"/>
          <a:ext cx="565774" cy="565774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11E13A87-D6B8-42EE-B3C1-07FAC65C06CE}">
      <dsp:nvSpPr>
        <dsp:cNvPr id="0" name=""/>
        <dsp:cNvSpPr/>
      </dsp:nvSpPr>
      <dsp:spPr>
        <a:xfrm>
          <a:off x="158127" y="3950893"/>
          <a:ext cx="3285122" cy="709983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91000">
              <a:schemeClr val="bg2"/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59267" tIns="22860" rIns="22860" bIns="2286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solidFill>
                <a:srgbClr val="0070C0"/>
              </a:solidFill>
            </a:rPr>
            <a:t>Предоставление отчета о достижении показателя</a:t>
          </a: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 smtClean="0">
              <a:solidFill>
                <a:srgbClr val="FF0000"/>
              </a:solidFill>
            </a:rPr>
            <a:t>5 </a:t>
          </a:r>
          <a:r>
            <a:rPr lang="ru-RU" sz="900" b="1" kern="1200" dirty="0">
              <a:solidFill>
                <a:srgbClr val="FF0000"/>
              </a:solidFill>
            </a:rPr>
            <a:t>февраля</a:t>
          </a:r>
        </a:p>
      </dsp:txBody>
      <dsp:txXfrm>
        <a:off x="158127" y="3950893"/>
        <a:ext cx="3285122" cy="709983"/>
      </dsp:txXfrm>
    </dsp:sp>
    <dsp:sp modelId="{B6E230B8-1DFA-49E8-ACEC-5D38D3200457}">
      <dsp:nvSpPr>
        <dsp:cNvPr id="0" name=""/>
        <dsp:cNvSpPr/>
      </dsp:nvSpPr>
      <dsp:spPr>
        <a:xfrm>
          <a:off x="830" y="4022997"/>
          <a:ext cx="565774" cy="565774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6256</cdr:x>
      <cdr:y>0.35027</cdr:y>
    </cdr:from>
    <cdr:to>
      <cdr:x>0.84371</cdr:x>
      <cdr:y>0.6728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5971969-EA8E-4353-B374-EA08244428CA}"/>
            </a:ext>
          </a:extLst>
        </cdr:cNvPr>
        <cdr:cNvSpPr txBox="1"/>
      </cdr:nvSpPr>
      <cdr:spPr>
        <a:xfrm xmlns:a="http://schemas.openxmlformats.org/drawingml/2006/main">
          <a:off x="232977" y="403097"/>
          <a:ext cx="976189" cy="371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1400" b="1" dirty="0" smtClean="0">
              <a:solidFill>
                <a:schemeClr val="accent3"/>
              </a:solidFill>
            </a:rPr>
            <a:t>32,2</a:t>
          </a:r>
          <a:r>
            <a:rPr lang="en-US" sz="1400" b="1" dirty="0" smtClean="0">
              <a:solidFill>
                <a:schemeClr val="accent3"/>
              </a:solidFill>
            </a:rPr>
            <a:t>%</a:t>
          </a:r>
          <a:endParaRPr lang="ru-RU" sz="1400" b="1" dirty="0">
            <a:solidFill>
              <a:schemeClr val="accent3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8062</cdr:x>
      <cdr:y>0.37276</cdr:y>
    </cdr:from>
    <cdr:to>
      <cdr:x>0.85323</cdr:x>
      <cdr:y>0.69534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15971969-EA8E-4353-B374-EA08244428CA}"/>
            </a:ext>
          </a:extLst>
        </cdr:cNvPr>
        <cdr:cNvSpPr txBox="1"/>
      </cdr:nvSpPr>
      <cdr:spPr>
        <a:xfrm xmlns:a="http://schemas.openxmlformats.org/drawingml/2006/main">
          <a:off x="258861" y="428980"/>
          <a:ext cx="963949" cy="371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1400" b="1" dirty="0" smtClean="0">
              <a:solidFill>
                <a:schemeClr val="accent3"/>
              </a:solidFill>
            </a:rPr>
            <a:t>69,8</a:t>
          </a:r>
          <a:r>
            <a:rPr lang="en-US" sz="1400" b="1" dirty="0" smtClean="0">
              <a:solidFill>
                <a:schemeClr val="accent3"/>
              </a:solidFill>
            </a:rPr>
            <a:t>%</a:t>
          </a:r>
          <a:endParaRPr lang="ru-RU" sz="1400" b="1" dirty="0">
            <a:solidFill>
              <a:schemeClr val="accent3"/>
            </a:solidFill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0262</cdr:x>
      <cdr:y>0</cdr:y>
    </cdr:from>
    <cdr:to>
      <cdr:x>0.96065</cdr:x>
      <cdr:y>0.17872</cdr:y>
    </cdr:to>
    <cdr:sp macro="" textlink="">
      <cdr:nvSpPr>
        <cdr:cNvPr id="2" name="TextBox 2"/>
        <cdr:cNvSpPr txBox="1"/>
      </cdr:nvSpPr>
      <cdr:spPr>
        <a:xfrm xmlns:a="http://schemas.openxmlformats.org/drawingml/2006/main">
          <a:off x="8626" y="0"/>
          <a:ext cx="3150729" cy="63392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0" tIns="0" rIns="0" bIns="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ru-RU" b="1" dirty="0">
            <a:solidFill>
              <a:schemeClr val="accent1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9" y="10"/>
            <a:ext cx="4302762" cy="340914"/>
          </a:xfrm>
          <a:prstGeom prst="rect">
            <a:avLst/>
          </a:prstGeom>
        </p:spPr>
        <p:txBody>
          <a:bodyPr vert="horz" lIns="86707" tIns="43353" rIns="86707" bIns="43353" rtlCol="0"/>
          <a:lstStyle>
            <a:lvl1pPr algn="l">
              <a:defRPr sz="10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3890" y="10"/>
            <a:ext cx="4304348" cy="340914"/>
          </a:xfrm>
          <a:prstGeom prst="rect">
            <a:avLst/>
          </a:prstGeom>
        </p:spPr>
        <p:txBody>
          <a:bodyPr vert="horz" lIns="86707" tIns="43353" rIns="86707" bIns="43353" rtlCol="0"/>
          <a:lstStyle>
            <a:lvl1pPr algn="r">
              <a:defRPr sz="1000"/>
            </a:lvl1pPr>
          </a:lstStyle>
          <a:p>
            <a:fld id="{B14BF506-F78A-4E1F-A9DE-6AC03BB48BAE}" type="datetimeFigureOut">
              <a:rPr lang="ru-RU" smtClean="0"/>
              <a:t>17.05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9" y="6458352"/>
            <a:ext cx="4302762" cy="340914"/>
          </a:xfrm>
          <a:prstGeom prst="rect">
            <a:avLst/>
          </a:prstGeom>
        </p:spPr>
        <p:txBody>
          <a:bodyPr vert="horz" lIns="86707" tIns="43353" rIns="86707" bIns="43353" rtlCol="0" anchor="b"/>
          <a:lstStyle>
            <a:lvl1pPr algn="l">
              <a:defRPr sz="10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3890" y="6458352"/>
            <a:ext cx="4304348" cy="340914"/>
          </a:xfrm>
          <a:prstGeom prst="rect">
            <a:avLst/>
          </a:prstGeom>
        </p:spPr>
        <p:txBody>
          <a:bodyPr vert="horz" lIns="86707" tIns="43353" rIns="86707" bIns="43353" rtlCol="0" anchor="b"/>
          <a:lstStyle>
            <a:lvl1pPr algn="r">
              <a:defRPr sz="1000"/>
            </a:lvl1pPr>
          </a:lstStyle>
          <a:p>
            <a:fld id="{3B91BF07-7441-4B8C-B3B5-D7726D37A11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3572212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4" y="4"/>
            <a:ext cx="4303129" cy="340725"/>
          </a:xfrm>
          <a:prstGeom prst="rect">
            <a:avLst/>
          </a:prstGeom>
        </p:spPr>
        <p:txBody>
          <a:bodyPr vert="horz" lIns="46222" tIns="23112" rIns="46222" bIns="23112" rtlCol="0"/>
          <a:lstStyle>
            <a:lvl1pPr algn="l">
              <a:defRPr sz="5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4343" y="4"/>
            <a:ext cx="4303129" cy="340725"/>
          </a:xfrm>
          <a:prstGeom prst="rect">
            <a:avLst/>
          </a:prstGeom>
        </p:spPr>
        <p:txBody>
          <a:bodyPr vert="horz" lIns="46222" tIns="23112" rIns="46222" bIns="23112" rtlCol="0"/>
          <a:lstStyle>
            <a:lvl1pPr algn="r">
              <a:defRPr sz="500"/>
            </a:lvl1pPr>
          </a:lstStyle>
          <a:p>
            <a:fld id="{D63B7CCF-0311-44C0-B04E-3BEADBC90B6F}" type="datetimeFigureOut">
              <a:rPr lang="ru-RU" smtClean="0"/>
              <a:t>17.05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49313"/>
            <a:ext cx="4078287" cy="2295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46222" tIns="23112" rIns="46222" bIns="23112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674" y="3271748"/>
            <a:ext cx="7944477" cy="2678095"/>
          </a:xfrm>
          <a:prstGeom prst="rect">
            <a:avLst/>
          </a:prstGeom>
        </p:spPr>
        <p:txBody>
          <a:bodyPr vert="horz" lIns="46222" tIns="23112" rIns="46222" bIns="23112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4" y="6458546"/>
            <a:ext cx="4303129" cy="340725"/>
          </a:xfrm>
          <a:prstGeom prst="rect">
            <a:avLst/>
          </a:prstGeom>
        </p:spPr>
        <p:txBody>
          <a:bodyPr vert="horz" lIns="46222" tIns="23112" rIns="46222" bIns="23112" rtlCol="0" anchor="b"/>
          <a:lstStyle>
            <a:lvl1pPr algn="l">
              <a:defRPr sz="5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4343" y="6458546"/>
            <a:ext cx="4303129" cy="340725"/>
          </a:xfrm>
          <a:prstGeom prst="rect">
            <a:avLst/>
          </a:prstGeom>
        </p:spPr>
        <p:txBody>
          <a:bodyPr vert="horz" lIns="46222" tIns="23112" rIns="46222" bIns="23112" rtlCol="0" anchor="b"/>
          <a:lstStyle>
            <a:lvl1pPr algn="r">
              <a:defRPr sz="500"/>
            </a:lvl1pPr>
          </a:lstStyle>
          <a:p>
            <a:fld id="{848594CB-4B43-4AC5-AEFA-8E4D634FEB6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921311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1pPr>
    <a:lvl2pPr marL="232829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2pPr>
    <a:lvl3pPr marL="465659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3pPr>
    <a:lvl4pPr marL="698488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4pPr>
    <a:lvl5pPr marL="931318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5pPr>
    <a:lvl6pPr marL="1164147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6pPr>
    <a:lvl7pPr marL="1396977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7pPr>
    <a:lvl8pPr marL="1629806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8pPr>
    <a:lvl9pPr marL="1862633" algn="l" defTabSz="465659" rtl="0" eaLnBrk="1" latinLnBrk="0" hangingPunct="1">
      <a:defRPr sz="66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306763" y="488950"/>
            <a:ext cx="5707062" cy="32115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FED875-7CA7-4683-B586-34E1A4A09D12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20794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8594CB-4B43-4AC5-AEFA-8E4D634FEB68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1582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376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7532A2-DA06-744D-9B20-9C50BFCC3550}" type="slidenum"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3764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1221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3764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7532A2-DA06-744D-9B20-9C50BFCC3550}" type="slidenum"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3764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17027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306763" y="488950"/>
            <a:ext cx="5707062" cy="32115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FED875-7CA7-4683-B586-34E1A4A09D12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07363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0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1615713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C4D6B36-8DA3-4C7E-B61C-5AB9FF8291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557248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BF4D39C9-8829-44E1-A668-BAE11A76C2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630328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F74E996-E2D0-4A08-BA18-36DF41474E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20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F77BB4B3-8D47-430B-9B65-D995DD1AB38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93252"/>
            <a:ext cx="12192000" cy="1081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120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8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026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656">
          <p15:clr>
            <a:srgbClr val="FBAE40"/>
          </p15:clr>
        </p15:guide>
        <p15:guide id="2" pos="796">
          <p15:clr>
            <a:srgbClr val="FBAE40"/>
          </p15:clr>
        </p15:guide>
        <p15:guide id="3" pos="37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8288AA24-53B2-455B-8D9D-EEA54F27B8AD}"/>
              </a:ext>
            </a:extLst>
          </p:cNvPr>
          <p:cNvSpPr/>
          <p:nvPr userDrawn="1"/>
        </p:nvSpPr>
        <p:spPr>
          <a:xfrm>
            <a:off x="0" y="822960"/>
            <a:ext cx="12192000" cy="6035040"/>
          </a:xfrm>
          <a:prstGeom prst="rect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 dirty="0"/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821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656" userDrawn="1">
          <p15:clr>
            <a:srgbClr val="FBAE40"/>
          </p15:clr>
        </p15:guide>
        <p15:guide id="2" pos="796" userDrawn="1">
          <p15:clr>
            <a:srgbClr val="FBAE40"/>
          </p15:clr>
        </p15:guide>
        <p15:guide id="3" pos="37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8"/>
            <a:ext cx="2743200" cy="365125"/>
          </a:xfrm>
        </p:spPr>
        <p:txBody>
          <a:bodyPr/>
          <a:lstStyle>
            <a:lvl1pPr>
              <a:defRPr sz="1467" b="1">
                <a:solidFill>
                  <a:schemeClr val="bg1"/>
                </a:solidFill>
              </a:defRPr>
            </a:lvl1pPr>
          </a:lstStyle>
          <a:p>
            <a:fld id="{35ACA335-37F7-42C7-872A-92C3D7072F8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 userDrawn="1"/>
        </p:nvSpPr>
        <p:spPr>
          <a:xfrm>
            <a:off x="0" y="10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54000" dist="76200" dir="5400000" algn="t" rotWithShape="0">
              <a:schemeClr val="tx1">
                <a:lumMod val="50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9" rIns="91391" bIns="45699" rtlCol="0" anchor="ctr"/>
          <a:lstStyle/>
          <a:p>
            <a:pPr algn="ctr"/>
            <a:endParaRPr lang="ru-RU" sz="1244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15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endParaRPr lang="ru-RU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35309A1-1DFE-4448-9E97-68A9703F848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7378" y="4114804"/>
            <a:ext cx="10899775" cy="2219325"/>
          </a:xfrm>
        </p:spPr>
        <p:txBody>
          <a:bodyPr/>
          <a:lstStyle>
            <a:lvl1pPr marL="0" indent="0">
              <a:buNone/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endParaRPr lang="ru-RU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6345194-BD72-4106-8639-F2E07A52DC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8382" y="200453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8598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656" userDrawn="1">
          <p15:clr>
            <a:srgbClr val="FBAE40"/>
          </p15:clr>
        </p15:guide>
        <p15:guide id="2" pos="796" userDrawn="1">
          <p15:clr>
            <a:srgbClr val="FBAE40"/>
          </p15:clr>
        </p15:guide>
        <p15:guide id="3" pos="37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FDF5ABC-2F51-4348-936E-5C87AD6348D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/>
          </a:blip>
          <a:srcRect l="32442"/>
          <a:stretch/>
        </p:blipFill>
        <p:spPr>
          <a:xfrm>
            <a:off x="0" y="5776245"/>
            <a:ext cx="12192000" cy="1081755"/>
          </a:xfrm>
          <a:prstGeom prst="rect">
            <a:avLst/>
          </a:prstGeom>
        </p:spPr>
      </p:pic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C1BAB3E4-8CDB-4F6A-B3E4-6E0AAEA08B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43949" y="6334127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E651BF2-C6BE-42E0-B646-8F3DC2D7D273}"/>
              </a:ext>
            </a:extLst>
          </p:cNvPr>
          <p:cNvSpPr/>
          <p:nvPr/>
        </p:nvSpPr>
        <p:spPr>
          <a:xfrm>
            <a:off x="0" y="1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 dirty="0"/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74242212-74B6-428E-A4FD-D6259025E3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3"/>
            <a:ext cx="10534651" cy="8254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E3871F9-012E-4CA1-B5B3-003F9F793B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62024" y="1323975"/>
            <a:ext cx="10525125" cy="4895851"/>
          </a:xfrm>
        </p:spPr>
        <p:txBody>
          <a:bodyPr>
            <a:normAutofit/>
          </a:bodyPr>
          <a:lstStyle>
            <a:lvl1pPr marL="228594" indent="-228594">
              <a:lnSpc>
                <a:spcPct val="100000"/>
              </a:lnSpc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lvl1pPr>
            <a:lvl2pPr marL="685783" indent="-228594">
              <a:lnSpc>
                <a:spcPct val="100000"/>
              </a:lnSpc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lvl2pPr>
            <a:lvl3pPr marL="1142971" indent="-228594">
              <a:lnSpc>
                <a:spcPct val="100000"/>
              </a:lnSpc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lvl3pPr>
            <a:lvl4pPr marL="1600160" indent="-228594">
              <a:lnSpc>
                <a:spcPct val="100000"/>
              </a:lnSpc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lvl4pPr>
            <a:lvl5pPr marL="2057349" indent="-228594">
              <a:lnSpc>
                <a:spcPct val="100000"/>
              </a:lnSpc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B7282BB-B59B-48E2-AF8B-BEEF0562D3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8375" y="200441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48860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597">
          <p15:clr>
            <a:srgbClr val="FBAE40"/>
          </p15:clr>
        </p15:guide>
        <p15:guide id="3" pos="279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B124A276-14A0-4C44-B211-694B36A90DCC}"/>
              </a:ext>
            </a:extLst>
          </p:cNvPr>
          <p:cNvSpPr/>
          <p:nvPr userDrawn="1"/>
        </p:nvSpPr>
        <p:spPr>
          <a:xfrm>
            <a:off x="0" y="1"/>
            <a:ext cx="12192000" cy="825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200" dist="3810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56BED0-189E-4943-8DB6-0A9EF11C72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246983"/>
            <a:ext cx="5157787" cy="82391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E46D484-19A6-4B6B-BDF5-A6692731BBC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/>
          </a:blip>
          <a:srcRect l="32442"/>
          <a:stretch/>
        </p:blipFill>
        <p:spPr>
          <a:xfrm>
            <a:off x="0" y="5776245"/>
            <a:ext cx="12192000" cy="1081755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7B947A0-6C39-4DAC-9F4E-F570EAD45F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305051"/>
            <a:ext cx="5157787" cy="3884613"/>
          </a:xfrm>
        </p:spPr>
        <p:txBody>
          <a:bodyPr>
            <a:normAutofit/>
          </a:bodyPr>
          <a:lstStyle>
            <a:lvl1pPr marL="228594" indent="-228594">
              <a:buClr>
                <a:schemeClr val="tx2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</a:defRPr>
            </a:lvl1pPr>
            <a:lvl2pPr marL="685783" indent="-228594">
              <a:buClr>
                <a:schemeClr val="tx2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</a:defRPr>
            </a:lvl2pPr>
            <a:lvl3pPr marL="1142971" indent="-228594">
              <a:buClr>
                <a:schemeClr val="tx2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</a:defRPr>
            </a:lvl3pPr>
            <a:lvl4pPr marL="1600160" indent="-228594">
              <a:buClr>
                <a:schemeClr val="tx2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</a:defRPr>
            </a:lvl4pPr>
            <a:lvl5pPr marL="2057349" indent="-228594">
              <a:buClr>
                <a:schemeClr val="tx2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1E98F0-0A34-49DA-A1B6-8099465AB7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69025" y="1246983"/>
            <a:ext cx="5183188" cy="823912"/>
          </a:xfrm>
        </p:spPr>
        <p:txBody>
          <a:bodyPr anchor="ctr">
            <a:noAutofit/>
          </a:bodyPr>
          <a:lstStyle>
            <a:lvl1pPr marL="0" indent="0" algn="ctr">
              <a:buNone/>
              <a:defRPr sz="2000" b="1">
                <a:solidFill>
                  <a:schemeClr val="accent2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28B27D2-411C-4250-86F9-248A70DD2C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305051"/>
            <a:ext cx="5183188" cy="3884613"/>
          </a:xfrm>
        </p:spPr>
        <p:txBody>
          <a:bodyPr>
            <a:normAutofit/>
          </a:bodyPr>
          <a:lstStyle>
            <a:lvl1pPr marL="228594" indent="-228594"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</a:defRPr>
            </a:lvl1pPr>
            <a:lvl2pPr marL="685783" indent="-228594"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</a:defRPr>
            </a:lvl2pPr>
            <a:lvl3pPr marL="1142971" indent="-228594"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</a:defRPr>
            </a:lvl3pPr>
            <a:lvl4pPr marL="1600160" indent="-228594"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</a:defRPr>
            </a:lvl4pPr>
            <a:lvl5pPr marL="2057349" indent="-228594">
              <a:buClr>
                <a:schemeClr val="tx1"/>
              </a:buClr>
              <a:buFont typeface="Arial" panose="020B0604020202020204" pitchFamily="34" charset="0"/>
              <a:buChar char="•"/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9C537432-E2EF-4BF1-90A7-32FD5153EA7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1"/>
            <a:ext cx="2743200" cy="365125"/>
          </a:xfrm>
        </p:spPr>
        <p:txBody>
          <a:bodyPr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F96892C9-3AB1-475D-812F-6012186E2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2"/>
            <a:ext cx="10534651" cy="838199"/>
          </a:xfrm>
        </p:spPr>
        <p:txBody>
          <a:bodyPr anchor="ctr">
            <a:normAutofit/>
          </a:bodyPr>
          <a:lstStyle>
            <a:lvl1pPr>
              <a:tabLst>
                <a:tab pos="1079473" algn="l"/>
              </a:tabLst>
              <a:defRPr sz="2400" b="1">
                <a:solidFill>
                  <a:schemeClr val="tx2"/>
                </a:solidFill>
              </a:defRPr>
            </a:lvl1pPr>
          </a:lstStyle>
          <a:p>
            <a:pPr>
              <a:tabLst>
                <a:tab pos="809625" algn="l"/>
              </a:tabLst>
            </a:pPr>
            <a:r>
              <a:rPr lang="en-US"/>
              <a:t>Click to edit Master title style</a:t>
            </a:r>
            <a:endParaRPr lang="ru-RU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E643017-68A8-4D7A-A149-A31F01702C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8375" y="200441"/>
            <a:ext cx="429076" cy="43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446834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0507893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1811505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18960031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7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8430775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35857602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7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704569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2223137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5/1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ACA335-37F7-42C7-872A-92C3D7072F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5966427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5/1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ACA335-37F7-42C7-872A-92C3D7072F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46509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9" r:id="rId1"/>
    <p:sldLayoutId id="2147484310" r:id="rId2"/>
    <p:sldLayoutId id="2147484311" r:id="rId3"/>
    <p:sldLayoutId id="2147484312" r:id="rId4"/>
    <p:sldLayoutId id="2147484313" r:id="rId5"/>
    <p:sldLayoutId id="2147484314" r:id="rId6"/>
    <p:sldLayoutId id="2147484315" r:id="rId7"/>
    <p:sldLayoutId id="2147484316" r:id="rId8"/>
    <p:sldLayoutId id="2147484317" r:id="rId9"/>
    <p:sldLayoutId id="2147484318" r:id="rId10"/>
    <p:sldLayoutId id="2147484319" r:id="rId11"/>
    <p:sldLayoutId id="2147484337" r:id="rId12"/>
    <p:sldLayoutId id="2147484335" r:id="rId13"/>
    <p:sldLayoutId id="2147484336" r:id="rId14"/>
    <p:sldLayoutId id="2147484306" r:id="rId15"/>
    <p:sldLayoutId id="2147484307" r:id="rId16"/>
    <p:sldLayoutId id="2147484339" r:id="rId17"/>
    <p:sldLayoutId id="2147484340" r:id="rId1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6.emf"/><Relationship Id="rId12" Type="http://schemas.openxmlformats.org/officeDocument/2006/relationships/image" Target="../media/image10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10.sv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320.sv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6.emf"/><Relationship Id="rId12" Type="http://schemas.openxmlformats.org/officeDocument/2006/relationships/image" Target="../media/image19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10.sv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7.xml"/><Relationship Id="rId4" Type="http://schemas.openxmlformats.org/officeDocument/2006/relationships/chart" Target="../charts/char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53" Type="http://schemas.openxmlformats.org/officeDocument/2006/relationships/image" Target="../media/image198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3" Type="http://schemas.openxmlformats.org/officeDocument/2006/relationships/diagramLayout" Target="../diagrams/layout2.xml"/><Relationship Id="rId7" Type="http://schemas.openxmlformats.org/officeDocument/2006/relationships/image" Target="../media/image14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9.sv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009AB666-0222-4717-9E13-4201CD4DB5D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0" y="-18494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7" y="1595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0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7" y="1595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одзаголовок 4">
            <a:extLst>
              <a:ext uri="{FF2B5EF4-FFF2-40B4-BE49-F238E27FC236}">
                <a16:creationId xmlns:a16="http://schemas.microsoft.com/office/drawing/2014/main" id="{6606CED7-1700-A14B-9EC7-E137772CA85D}"/>
              </a:ext>
            </a:extLst>
          </p:cNvPr>
          <p:cNvSpPr txBox="1">
            <a:spLocks/>
          </p:cNvSpPr>
          <p:nvPr/>
        </p:nvSpPr>
        <p:spPr>
          <a:xfrm>
            <a:off x="134977" y="885046"/>
            <a:ext cx="7078369" cy="4807600"/>
          </a:xfrm>
        </p:spPr>
        <p:txBody>
          <a:bodyPr lIns="65273" tIns="32641" rIns="65273" bIns="3264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3200" b="1" dirty="0" smtClean="0">
                <a:solidFill>
                  <a:srgbClr val="39505E"/>
                </a:solidFill>
                <a:cs typeface="Arial" panose="020B0604020202020204" pitchFamily="34" charset="0"/>
              </a:rPr>
              <a:t>Порядок проведения комплексных кадастровых работ </a:t>
            </a:r>
            <a:r>
              <a:rPr lang="ru-RU" sz="1600" dirty="0" smtClean="0">
                <a:solidFill>
                  <a:srgbClr val="39505E"/>
                </a:solidFill>
                <a:cs typeface="Arial" panose="020B0604020202020204" pitchFamily="34" charset="0"/>
              </a:rPr>
              <a:t>__________________________________________________</a:t>
            </a:r>
          </a:p>
          <a:p>
            <a:pPr algn="ctr"/>
            <a:endParaRPr lang="ru-RU" sz="2667" b="1" dirty="0">
              <a:solidFill>
                <a:srgbClr val="39505E"/>
              </a:solidFill>
              <a:cs typeface="Arial" panose="020B0604020202020204" pitchFamily="34" charset="0"/>
            </a:endParaRPr>
          </a:p>
          <a:p>
            <a:pPr algn="ctr"/>
            <a:endParaRPr lang="ru-RU" sz="2667" b="1" dirty="0">
              <a:solidFill>
                <a:srgbClr val="39505E"/>
              </a:solidFill>
              <a:cs typeface="Arial" panose="020B0604020202020204" pitchFamily="34" charset="0"/>
            </a:endParaRPr>
          </a:p>
          <a:p>
            <a:pPr algn="ctr"/>
            <a:endParaRPr lang="ru-RU" sz="2667" b="1" dirty="0">
              <a:solidFill>
                <a:srgbClr val="39505E"/>
              </a:solidFill>
              <a:cs typeface="Arial" panose="020B0604020202020204" pitchFamily="34" charset="0"/>
            </a:endParaRPr>
          </a:p>
          <a:p>
            <a:pPr algn="ctr"/>
            <a:endParaRPr lang="ru-RU" sz="2667" b="1" dirty="0">
              <a:solidFill>
                <a:srgbClr val="39505E"/>
              </a:solidFill>
              <a:cs typeface="Arial" panose="020B0604020202020204" pitchFamily="34" charset="0"/>
            </a:endParaRPr>
          </a:p>
          <a:p>
            <a:pPr algn="ctr"/>
            <a:endParaRPr lang="ru-RU" sz="2667" b="1" dirty="0">
              <a:solidFill>
                <a:srgbClr val="39505E"/>
              </a:solidFill>
              <a:cs typeface="Arial" panose="020B0604020202020204" pitchFamily="34" charset="0"/>
            </a:endParaRPr>
          </a:p>
          <a:p>
            <a:pPr algn="ctr"/>
            <a:endParaRPr lang="ru-RU" sz="2667" b="1" dirty="0">
              <a:solidFill>
                <a:srgbClr val="39505E"/>
              </a:solidFill>
              <a:cs typeface="Arial" panose="020B0604020202020204" pitchFamily="34" charset="0"/>
            </a:endParaRPr>
          </a:p>
          <a:p>
            <a:pPr algn="ctr"/>
            <a:endParaRPr lang="ru-RU" sz="2667" b="1" dirty="0">
              <a:solidFill>
                <a:srgbClr val="39505E"/>
              </a:solidFill>
              <a:cs typeface="Arial" panose="020B0604020202020204" pitchFamily="34" charset="0"/>
            </a:endParaRPr>
          </a:p>
          <a:p>
            <a:pPr algn="ctr"/>
            <a:endParaRPr lang="ru-RU" sz="2667" b="1" dirty="0">
              <a:solidFill>
                <a:srgbClr val="39505E"/>
              </a:solidFill>
              <a:cs typeface="Arial" panose="020B0604020202020204" pitchFamily="34" charset="0"/>
            </a:endParaRPr>
          </a:p>
          <a:p>
            <a:pPr algn="ctr"/>
            <a:r>
              <a:rPr lang="ru-RU" sz="2667" b="1" dirty="0" smtClean="0">
                <a:solidFill>
                  <a:srgbClr val="39505E"/>
                </a:solidFill>
                <a:cs typeface="Arial" panose="020B0604020202020204" pitchFamily="34" charset="0"/>
              </a:rPr>
              <a:t>Харитов Максим Дмитриевич</a:t>
            </a:r>
            <a:endParaRPr lang="ru-RU" sz="2667" b="1" dirty="0">
              <a:solidFill>
                <a:srgbClr val="39505E"/>
              </a:solidFill>
              <a:cs typeface="Arial" panose="020B0604020202020204" pitchFamily="34" charset="0"/>
            </a:endParaRPr>
          </a:p>
          <a:p>
            <a:r>
              <a:rPr lang="ru-RU" sz="16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	  </a:t>
            </a:r>
            <a:r>
              <a:rPr lang="ru-RU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Май </a:t>
            </a: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2023, </a:t>
            </a:r>
            <a:r>
              <a:rPr lang="ru-RU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anose="020B0604020202020204" pitchFamily="34" charset="0"/>
              </a:rPr>
              <a:t>г. Новосибирск</a:t>
            </a:r>
            <a:endParaRPr lang="ru-RU" sz="1400" b="1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ru-RU" sz="11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	</a:t>
            </a:r>
            <a:endParaRPr lang="ru-RU" sz="2667" b="1" dirty="0">
              <a:solidFill>
                <a:srgbClr val="39505E"/>
              </a:solidFill>
              <a:cs typeface="Arial" panose="020B0604020202020204" pitchFamily="34" charset="0"/>
            </a:endParaRPr>
          </a:p>
          <a:p>
            <a:pPr algn="ctr"/>
            <a:endParaRPr lang="ru-RU" sz="2667" b="1" dirty="0">
              <a:solidFill>
                <a:srgbClr val="39505E"/>
              </a:solidFill>
              <a:cs typeface="Arial" panose="020B0604020202020204" pitchFamily="34" charset="0"/>
            </a:endParaRPr>
          </a:p>
          <a:p>
            <a:pPr algn="ctr"/>
            <a:endParaRPr lang="ru-RU" sz="2667" b="1" dirty="0">
              <a:solidFill>
                <a:srgbClr val="39505E"/>
              </a:solidFill>
              <a:cs typeface="Arial" panose="020B0604020202020204" pitchFamily="34" charset="0"/>
            </a:endParaRPr>
          </a:p>
        </p:txBody>
      </p:sp>
      <p:sp>
        <p:nvSpPr>
          <p:cNvPr id="8" name="Подзаголовок 4">
            <a:extLst>
              <a:ext uri="{FF2B5EF4-FFF2-40B4-BE49-F238E27FC236}">
                <a16:creationId xmlns:a16="http://schemas.microsoft.com/office/drawing/2014/main" id="{6606CED7-1700-A14B-9EC7-E137772CA85D}"/>
              </a:ext>
            </a:extLst>
          </p:cNvPr>
          <p:cNvSpPr txBox="1">
            <a:spLocks/>
          </p:cNvSpPr>
          <p:nvPr/>
        </p:nvSpPr>
        <p:spPr>
          <a:xfrm>
            <a:off x="384217" y="1486709"/>
            <a:ext cx="6004291" cy="3412047"/>
          </a:xfrm>
        </p:spPr>
        <p:txBody>
          <a:bodyPr lIns="65273" tIns="32641" rIns="65273" bIns="3264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3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4" name="Овал 3"/>
          <p:cNvSpPr/>
          <p:nvPr/>
        </p:nvSpPr>
        <p:spPr>
          <a:xfrm>
            <a:off x="2192032" y="2623642"/>
            <a:ext cx="2388660" cy="239932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A13C540C-704E-4613-9F0D-30351564FE5F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E01313C7-2EB2-44B7-B8DB-D4D8CAF3E45C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54D9C79-BFE9-4041-8C56-9751DED1C2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1721" y="0"/>
            <a:ext cx="6470589" cy="6858000"/>
          </a:xfrm>
          <a:prstGeom prst="rect">
            <a:avLst/>
          </a:prstGeom>
        </p:spPr>
      </p:pic>
      <p:pic>
        <p:nvPicPr>
          <p:cNvPr id="14" name="Graphic 8">
            <a:extLst>
              <a:ext uri="{FF2B5EF4-FFF2-40B4-BE49-F238E27FC236}">
                <a16:creationId xmlns:a16="http://schemas.microsoft.com/office/drawing/2014/main" id="{D63BB6CE-DE97-431A-AEF9-547E73110F9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rcRect/>
          <a:stretch/>
        </p:blipFill>
        <p:spPr>
          <a:xfrm>
            <a:off x="7405455" y="1480906"/>
            <a:ext cx="3859200" cy="385920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8209" y="2623642"/>
            <a:ext cx="2596306" cy="2596306"/>
          </a:xfrm>
          <a:prstGeom prst="ellipse">
            <a:avLst/>
          </a:prstGeom>
          <a:ln w="3175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7" name="TextBox 6"/>
          <p:cNvSpPr txBox="1"/>
          <p:nvPr/>
        </p:nvSpPr>
        <p:spPr>
          <a:xfrm>
            <a:off x="7462586" y="2736501"/>
            <a:ext cx="368274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bg2">
                    <a:lumMod val="10000"/>
                  </a:schemeClr>
                </a:solidFill>
              </a:rPr>
              <a:t>Успеха можно достичь, работая </a:t>
            </a:r>
          </a:p>
          <a:p>
            <a:pPr algn="ctr"/>
            <a:r>
              <a:rPr lang="ru-RU" sz="2800" b="1" dirty="0" smtClean="0">
                <a:solidFill>
                  <a:schemeClr val="bg2">
                    <a:lumMod val="10000"/>
                  </a:schemeClr>
                </a:solidFill>
              </a:rPr>
              <a:t>в команде</a:t>
            </a:r>
            <a:endParaRPr lang="ru-RU" sz="2800" b="1" dirty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6058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10</a:t>
            </a:fld>
            <a:endParaRPr lang="en-US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dirty="0" smtClean="0"/>
              <a:t>Предложения и рекомендации</a:t>
            </a:r>
            <a:endParaRPr lang="ru-RU" sz="28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644012" y="1063223"/>
            <a:ext cx="1096297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002060"/>
                </a:solidFill>
              </a:rPr>
              <a:t>Ускорить</a:t>
            </a:r>
            <a:r>
              <a:rPr lang="ru-RU" sz="2000" b="1" dirty="0" smtClean="0">
                <a:solidFill>
                  <a:schemeClr val="accent2"/>
                </a:solidFill>
              </a:rPr>
              <a:t> закупочные процедуры </a:t>
            </a:r>
            <a:r>
              <a:rPr lang="ru-RU" sz="2000" dirty="0" smtClean="0">
                <a:solidFill>
                  <a:srgbClr val="002060"/>
                </a:solidFill>
              </a:rPr>
              <a:t>и </a:t>
            </a:r>
            <a:r>
              <a:rPr lang="ru-RU" sz="2000" b="1" dirty="0" smtClean="0">
                <a:solidFill>
                  <a:schemeClr val="accent2"/>
                </a:solidFill>
              </a:rPr>
              <a:t>заключить контракты </a:t>
            </a:r>
            <a:r>
              <a:rPr lang="ru-RU" sz="2000" dirty="0" smtClean="0">
                <a:solidFill>
                  <a:srgbClr val="002060"/>
                </a:solidFill>
              </a:rPr>
              <a:t>на всю сумму предоставленной субсидии и запланированной в региональном бюджете на ККР</a:t>
            </a:r>
            <a:endParaRPr lang="ru-RU" sz="2000" dirty="0">
              <a:solidFill>
                <a:srgbClr val="002060"/>
              </a:solidFill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C924B64-DDA9-4F78-AAF1-BF55328EAA4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3920" y="5436087"/>
            <a:ext cx="658648" cy="852863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A84028A3-9C73-42CC-90F1-681C643F67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996" y="5573775"/>
            <a:ext cx="381500" cy="379308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644012" y="4290830"/>
            <a:ext cx="674001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777465">
              <a:buClr>
                <a:srgbClr val="00B050"/>
              </a:buClr>
              <a:tabLst>
                <a:tab pos="120648" algn="l"/>
                <a:tab pos="241294" algn="l"/>
              </a:tabLst>
              <a:defRPr/>
            </a:pPr>
            <a:r>
              <a:rPr lang="ru-RU" sz="2000" dirty="0" smtClean="0">
                <a:solidFill>
                  <a:srgbClr val="002060"/>
                </a:solidFill>
              </a:rPr>
              <a:t>Завершить контракты </a:t>
            </a:r>
            <a:r>
              <a:rPr lang="ru-RU" sz="2000" b="1" dirty="0" smtClean="0">
                <a:solidFill>
                  <a:schemeClr val="accent2"/>
                </a:solidFill>
              </a:rPr>
              <a:t>до 16 ноября 2023 года </a:t>
            </a:r>
            <a:endParaRPr lang="ru-RU" sz="2000" b="1" dirty="0">
              <a:solidFill>
                <a:schemeClr val="accent2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634181" y="3076544"/>
            <a:ext cx="1046643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002060"/>
                </a:solidFill>
              </a:rPr>
              <a:t>Обеспечить </a:t>
            </a:r>
            <a:r>
              <a:rPr lang="ru-RU" sz="2000" b="1" dirty="0" smtClean="0">
                <a:solidFill>
                  <a:schemeClr val="accent2"/>
                </a:solidFill>
              </a:rPr>
              <a:t>предварительную проверку КПТР </a:t>
            </a:r>
            <a:r>
              <a:rPr lang="ru-RU" sz="2000" dirty="0" smtClean="0">
                <a:solidFill>
                  <a:srgbClr val="002060"/>
                </a:solidFill>
              </a:rPr>
              <a:t>в рамках согласительных комиссий</a:t>
            </a:r>
            <a:endParaRPr lang="ru-RU" sz="2000" dirty="0">
              <a:solidFill>
                <a:srgbClr val="002060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599770" y="3700892"/>
            <a:ext cx="110072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dirty="0" smtClean="0">
                <a:solidFill>
                  <a:srgbClr val="002060"/>
                </a:solidFill>
              </a:rPr>
              <a:t>Обеспечить представление </a:t>
            </a:r>
            <a:r>
              <a:rPr lang="ru-RU" sz="2000" b="1" dirty="0" smtClean="0">
                <a:solidFill>
                  <a:schemeClr val="accent2"/>
                </a:solidFill>
              </a:rPr>
              <a:t>КПТР</a:t>
            </a:r>
            <a:r>
              <a:rPr lang="ru-RU" sz="2000" dirty="0" smtClean="0">
                <a:solidFill>
                  <a:srgbClr val="002060"/>
                </a:solidFill>
              </a:rPr>
              <a:t> в орган регистрации прав</a:t>
            </a:r>
            <a:r>
              <a:rPr lang="ru-RU" sz="2000" dirty="0">
                <a:solidFill>
                  <a:srgbClr val="002060"/>
                </a:solidFill>
              </a:rPr>
              <a:t> </a:t>
            </a:r>
            <a:r>
              <a:rPr lang="ru-RU" sz="2000" b="1" dirty="0" smtClean="0">
                <a:solidFill>
                  <a:schemeClr val="accent2"/>
                </a:solidFill>
              </a:rPr>
              <a:t>до 30 октября 2023 года</a:t>
            </a:r>
            <a:endParaRPr lang="ru-RU" sz="2000" b="1" dirty="0">
              <a:solidFill>
                <a:schemeClr val="accent2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44013" y="5505113"/>
            <a:ext cx="923740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00" dirty="0" smtClean="0">
                <a:solidFill>
                  <a:srgbClr val="002060"/>
                </a:solidFill>
              </a:rPr>
              <a:t>Информировать исполнителей о правиле </a:t>
            </a:r>
            <a:r>
              <a:rPr lang="ru-RU" sz="2000" b="1" dirty="0" smtClean="0">
                <a:solidFill>
                  <a:schemeClr val="accent2"/>
                </a:solidFill>
              </a:rPr>
              <a:t>«КПТР не более 1000 объектов»</a:t>
            </a:r>
            <a:endParaRPr lang="ru-RU" sz="2000" b="1" dirty="0">
              <a:solidFill>
                <a:schemeClr val="accent2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555521" y="4895514"/>
            <a:ext cx="728078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002060"/>
                </a:solidFill>
              </a:rPr>
              <a:t> Обеспечить исполнение кассы </a:t>
            </a:r>
            <a:r>
              <a:rPr lang="ru-RU" sz="2000" b="1" dirty="0" smtClean="0">
                <a:solidFill>
                  <a:schemeClr val="accent2"/>
                </a:solidFill>
              </a:rPr>
              <a:t>до 1 декабря 2023 года</a:t>
            </a:r>
            <a:endParaRPr lang="ru-RU" sz="2000" b="1" dirty="0">
              <a:solidFill>
                <a:schemeClr val="accent2"/>
              </a:solidFill>
            </a:endParaRP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A84028A3-9C73-42CC-90F1-681C643F67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070" y="1137015"/>
            <a:ext cx="381500" cy="379308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A84028A3-9C73-42CC-90F1-681C643F67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315" y="1864601"/>
            <a:ext cx="381500" cy="379308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A84028A3-9C73-42CC-90F1-681C643F67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236" y="3076380"/>
            <a:ext cx="381500" cy="379308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A84028A3-9C73-42CC-90F1-681C643F67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071" y="3666317"/>
            <a:ext cx="381500" cy="379308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A84028A3-9C73-42CC-90F1-681C643F67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902" y="4310237"/>
            <a:ext cx="381500" cy="379308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A84028A3-9C73-42CC-90F1-681C643F67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445" y="4935698"/>
            <a:ext cx="381500" cy="379308"/>
          </a:xfrm>
          <a:prstGeom prst="rect">
            <a:avLst/>
          </a:prstGeom>
        </p:spPr>
      </p:pic>
      <p:sp>
        <p:nvSpPr>
          <p:cNvPr id="31" name="Прямоугольник 30"/>
          <p:cNvSpPr/>
          <p:nvPr/>
        </p:nvSpPr>
        <p:spPr>
          <a:xfrm>
            <a:off x="648930" y="2462027"/>
            <a:ext cx="1046643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002060"/>
                </a:solidFill>
              </a:rPr>
              <a:t>Доводить до исполнителей </a:t>
            </a:r>
            <a:r>
              <a:rPr lang="ru-RU" sz="2000" b="1" dirty="0" smtClean="0">
                <a:solidFill>
                  <a:schemeClr val="accent2"/>
                </a:solidFill>
              </a:rPr>
              <a:t>порядок направления извещений</a:t>
            </a:r>
            <a:endParaRPr lang="ru-RU" sz="2000" b="1" dirty="0">
              <a:solidFill>
                <a:schemeClr val="accent2"/>
              </a:solidFill>
            </a:endParaRPr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A84028A3-9C73-42CC-90F1-681C643F67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6152" y="2461864"/>
            <a:ext cx="381500" cy="379308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634181" y="1918946"/>
            <a:ext cx="1096297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002060"/>
                </a:solidFill>
              </a:rPr>
              <a:t>Применять при закупках </a:t>
            </a:r>
            <a:r>
              <a:rPr lang="ru-RU" sz="2000" b="1" dirty="0" smtClean="0">
                <a:solidFill>
                  <a:schemeClr val="accent2"/>
                </a:solidFill>
              </a:rPr>
              <a:t>типовое техническое задание </a:t>
            </a:r>
            <a:endParaRPr lang="ru-RU" sz="2000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536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2">
            <a:extLst>
              <a:ext uri="{FF2B5EF4-FFF2-40B4-BE49-F238E27FC236}">
                <a16:creationId xmlns:a16="http://schemas.microsoft.com/office/drawing/2014/main" id="{009AB666-0222-4717-9E13-4201CD4DB5D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" r="3286" b="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7" y="1595"/>
          <a:ext cx="1955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2"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7" y="1595"/>
                        <a:ext cx="1955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одзаголовок 4">
            <a:extLst>
              <a:ext uri="{FF2B5EF4-FFF2-40B4-BE49-F238E27FC236}">
                <a16:creationId xmlns:a16="http://schemas.microsoft.com/office/drawing/2014/main" id="{6606CED7-1700-A14B-9EC7-E137772CA85D}"/>
              </a:ext>
            </a:extLst>
          </p:cNvPr>
          <p:cNvSpPr txBox="1">
            <a:spLocks/>
          </p:cNvSpPr>
          <p:nvPr/>
        </p:nvSpPr>
        <p:spPr>
          <a:xfrm>
            <a:off x="384217" y="1486709"/>
            <a:ext cx="6004291" cy="3412047"/>
          </a:xfrm>
        </p:spPr>
        <p:txBody>
          <a:bodyPr lIns="65273" tIns="32641" rIns="65273" bIns="32641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36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A13C540C-704E-4613-9F0D-30351564FE5F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E01313C7-2EB2-44B7-B8DB-D4D8CAF3E45C}"/>
              </a:ext>
            </a:extLst>
          </p:cNvPr>
          <p:cNvSpPr/>
          <p:nvPr/>
        </p:nvSpPr>
        <p:spPr>
          <a:xfrm>
            <a:off x="0" y="-1"/>
            <a:ext cx="1638300" cy="6858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54D9C79-BFE9-4041-8C56-9751DED1C2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1721" y="0"/>
            <a:ext cx="6470589" cy="6858000"/>
          </a:xfrm>
          <a:prstGeom prst="rect">
            <a:avLst/>
          </a:prstGeom>
        </p:spPr>
      </p:pic>
      <p:pic>
        <p:nvPicPr>
          <p:cNvPr id="14" name="Graphic 8">
            <a:extLst>
              <a:ext uri="{FF2B5EF4-FFF2-40B4-BE49-F238E27FC236}">
                <a16:creationId xmlns:a16="http://schemas.microsoft.com/office/drawing/2014/main" id="{D63BB6CE-DE97-431A-AEF9-547E73110F9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rcRect/>
          <a:stretch/>
        </p:blipFill>
        <p:spPr>
          <a:xfrm>
            <a:off x="7405455" y="1480906"/>
            <a:ext cx="3859200" cy="38592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37429" y="2687231"/>
            <a:ext cx="585857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400" b="1" i="1" dirty="0" smtClean="0">
                <a:solidFill>
                  <a:srgbClr val="002060"/>
                </a:solidFill>
              </a:rPr>
              <a:t>СПАСИБО ЗА ВНИМАНИЕ!!</a:t>
            </a:r>
            <a:endParaRPr lang="ru-RU" sz="4400" b="1" i="1" dirty="0">
              <a:solidFill>
                <a:srgbClr val="002060"/>
              </a:solidFill>
            </a:endParaRPr>
          </a:p>
        </p:txBody>
      </p:sp>
      <p:pic>
        <p:nvPicPr>
          <p:cNvPr id="16" name="Graphic 273">
            <a:extLst>
              <a:ext uri="{FF2B5EF4-FFF2-40B4-BE49-F238E27FC236}">
                <a16:creationId xmlns:a16="http://schemas.microsoft.com/office/drawing/2014/main" id="{DBAB7018-87AE-42A4-B85D-1CAD647D497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364589" y="2560850"/>
            <a:ext cx="1778237" cy="177823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21262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9255226" y="6422618"/>
            <a:ext cx="2743200" cy="365125"/>
          </a:xfrm>
        </p:spPr>
        <p:txBody>
          <a:bodyPr/>
          <a:lstStyle/>
          <a:p>
            <a:fld id="{35ACA335-37F7-42C7-872A-92C3D7072F89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>
              <a:tabLst>
                <a:tab pos="1077913" algn="l"/>
                <a:tab pos="5556250" algn="l"/>
              </a:tabLst>
            </a:pPr>
            <a:r>
              <a:rPr lang="ru-RU" dirty="0" smtClean="0"/>
              <a:t>Цели проведения комплексных кадастровых работ</a:t>
            </a:r>
            <a:endParaRPr lang="ru-RU" dirty="0"/>
          </a:p>
        </p:txBody>
      </p:sp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id="{03154E12-6468-C50E-16F4-5A2E81E97044}"/>
              </a:ext>
            </a:extLst>
          </p:cNvPr>
          <p:cNvSpPr/>
          <p:nvPr/>
        </p:nvSpPr>
        <p:spPr>
          <a:xfrm>
            <a:off x="7165570" y="1061078"/>
            <a:ext cx="3009207" cy="491613"/>
          </a:xfrm>
          <a:prstGeom prst="roundRect">
            <a:avLst/>
          </a:prstGeom>
          <a:solidFill>
            <a:srgbClr val="1890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latin typeface="+mj-lt"/>
              </a:rPr>
              <a:t>Российская Федерация</a:t>
            </a:r>
            <a:endParaRPr lang="ru-RU" sz="1600" b="1" dirty="0">
              <a:latin typeface="+mj-lt"/>
            </a:endParaRPr>
          </a:p>
        </p:txBody>
      </p:sp>
      <p:graphicFrame>
        <p:nvGraphicFramePr>
          <p:cNvPr id="53" name="Chart 31">
            <a:extLst>
              <a:ext uri="{FF2B5EF4-FFF2-40B4-BE49-F238E27FC236}">
                <a16:creationId xmlns:a16="http://schemas.microsoft.com/office/drawing/2014/main" id="{C99B1925-EAD2-4C3E-A9C2-BE05B45044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96489293"/>
              </p:ext>
            </p:extLst>
          </p:nvPr>
        </p:nvGraphicFramePr>
        <p:xfrm>
          <a:off x="7237026" y="1724715"/>
          <a:ext cx="1433147" cy="1150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31364F3C-E64E-5BE9-6BA9-941121EEFA73}"/>
              </a:ext>
            </a:extLst>
          </p:cNvPr>
          <p:cNvSpPr/>
          <p:nvPr/>
        </p:nvSpPr>
        <p:spPr>
          <a:xfrm>
            <a:off x="7254094" y="2950647"/>
            <a:ext cx="125254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ЗУ</a:t>
            </a:r>
            <a:r>
              <a:rPr lang="ru-RU" sz="1400" dirty="0">
                <a:solidFill>
                  <a:srgbClr val="002060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kumimoji="0" lang="ru-RU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 smtClean="0">
                <a:solidFill>
                  <a:srgbClr val="002060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без </a:t>
            </a:r>
            <a:r>
              <a:rPr kumimoji="0" lang="ru-RU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границ </a:t>
            </a:r>
            <a:br>
              <a:rPr kumimoji="0" lang="ru-RU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</a:br>
            <a:endParaRPr kumimoji="0" lang="ru-RU" sz="140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j-lt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66" name="Chart 31">
            <a:extLst>
              <a:ext uri="{FF2B5EF4-FFF2-40B4-BE49-F238E27FC236}">
                <a16:creationId xmlns:a16="http://schemas.microsoft.com/office/drawing/2014/main" id="{C99B1925-EAD2-4C3E-A9C2-BE05B450442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7148656"/>
              </p:ext>
            </p:extLst>
          </p:nvPr>
        </p:nvGraphicFramePr>
        <p:xfrm>
          <a:off x="8776834" y="1719104"/>
          <a:ext cx="1433147" cy="1150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31364F3C-E64E-5BE9-6BA9-941121EEFA73}"/>
              </a:ext>
            </a:extLst>
          </p:cNvPr>
          <p:cNvSpPr/>
          <p:nvPr/>
        </p:nvSpPr>
        <p:spPr>
          <a:xfrm>
            <a:off x="9075046" y="2922107"/>
            <a:ext cx="109973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 smtClean="0">
                <a:solidFill>
                  <a:srgbClr val="002060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ОКС </a:t>
            </a:r>
          </a:p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 smtClean="0">
                <a:solidFill>
                  <a:srgbClr val="002060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без</a:t>
            </a:r>
            <a:r>
              <a:rPr kumimoji="0" lang="ru-RU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 границ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/>
            </a:r>
            <a:b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</a:br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+mj-lt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07604" y="1282416"/>
            <a:ext cx="5324434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ts val="2400"/>
              </a:lnSpc>
              <a:buFont typeface="Wingdings" panose="05000000000000000000" pitchFamily="2" charset="2"/>
              <a:buChar char="Ø"/>
              <a:defRPr/>
            </a:pPr>
            <a:r>
              <a:rPr lang="ru-RU" sz="1600" b="1" dirty="0" smtClean="0">
                <a:solidFill>
                  <a:srgbClr val="00CC99"/>
                </a:solidFill>
              </a:rPr>
              <a:t>Уточнение</a:t>
            </a:r>
            <a:r>
              <a:rPr lang="ru-RU" sz="1600" dirty="0" smtClean="0">
                <a:solidFill>
                  <a:srgbClr val="002060"/>
                </a:solidFill>
              </a:rPr>
              <a:t> местоположения границ ЗУ и ОКС</a:t>
            </a:r>
          </a:p>
          <a:p>
            <a:pPr marL="285750" indent="-285750">
              <a:lnSpc>
                <a:spcPts val="2400"/>
              </a:lnSpc>
              <a:buFont typeface="Wingdings" panose="05000000000000000000" pitchFamily="2" charset="2"/>
              <a:buChar char="Ø"/>
              <a:defRPr/>
            </a:pPr>
            <a:r>
              <a:rPr lang="ru-RU" sz="1600" b="1" dirty="0" smtClean="0">
                <a:solidFill>
                  <a:srgbClr val="00CC99"/>
                </a:solidFill>
              </a:rPr>
              <a:t>Образование</a:t>
            </a:r>
            <a:r>
              <a:rPr lang="ru-RU" sz="1600" dirty="0" smtClean="0">
                <a:solidFill>
                  <a:srgbClr val="002060"/>
                </a:solidFill>
              </a:rPr>
              <a:t> новых ЗУ</a:t>
            </a:r>
          </a:p>
          <a:p>
            <a:pPr marL="285750" indent="-285750">
              <a:lnSpc>
                <a:spcPts val="2400"/>
              </a:lnSpc>
              <a:buFont typeface="Wingdings" panose="05000000000000000000" pitchFamily="2" charset="2"/>
              <a:buChar char="Ø"/>
              <a:defRPr/>
            </a:pPr>
            <a:r>
              <a:rPr lang="ru-RU" sz="1600" b="1" dirty="0" smtClean="0">
                <a:solidFill>
                  <a:srgbClr val="00CC99"/>
                </a:solidFill>
              </a:rPr>
              <a:t>Исправление</a:t>
            </a:r>
            <a:r>
              <a:rPr lang="ru-RU" sz="1600" dirty="0" smtClean="0">
                <a:solidFill>
                  <a:srgbClr val="002060"/>
                </a:solidFill>
              </a:rPr>
              <a:t> реестровых ошибок</a:t>
            </a:r>
          </a:p>
          <a:p>
            <a:pPr marL="285750" indent="-285750">
              <a:lnSpc>
                <a:spcPts val="2400"/>
              </a:lnSpc>
              <a:buFont typeface="Wingdings" panose="05000000000000000000" pitchFamily="2" charset="2"/>
              <a:buChar char="Ø"/>
              <a:defRPr/>
            </a:pPr>
            <a:r>
              <a:rPr lang="ru-RU" sz="1600" b="1" dirty="0" smtClean="0">
                <a:solidFill>
                  <a:srgbClr val="00CC99"/>
                </a:solidFill>
              </a:rPr>
              <a:t>Выявление </a:t>
            </a:r>
            <a:r>
              <a:rPr lang="ru-RU" sz="1600" dirty="0">
                <a:solidFill>
                  <a:srgbClr val="002060"/>
                </a:solidFill>
              </a:rPr>
              <a:t>правообладателей ранее учтенных ОН, самовольного захвата ЗУ и самовольных построек</a:t>
            </a:r>
          </a:p>
          <a:p>
            <a:pPr>
              <a:defRPr/>
            </a:pPr>
            <a:endParaRPr lang="ru-RU" sz="1600" b="1" dirty="0" smtClean="0">
              <a:solidFill>
                <a:srgbClr val="00CC99"/>
              </a:solidFill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31364F3C-E64E-5BE9-6BA9-941121EEFA73}"/>
              </a:ext>
            </a:extLst>
          </p:cNvPr>
          <p:cNvSpPr/>
          <p:nvPr/>
        </p:nvSpPr>
        <p:spPr>
          <a:xfrm>
            <a:off x="1760871" y="3097872"/>
            <a:ext cx="21622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srgbClr val="FF7900"/>
                </a:solidFill>
                <a:latin typeface="Arial Black" panose="020B0A04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ЭФФЕКТЫ</a:t>
            </a:r>
            <a:endParaRPr kumimoji="0" lang="ru-RU" sz="2400" b="1" i="0" u="none" strike="noStrike" kern="1200" cap="none" spc="0" normalizeH="0" baseline="0" noProof="0" dirty="0" smtClean="0">
              <a:ln>
                <a:noFill/>
              </a:ln>
              <a:solidFill>
                <a:srgbClr val="FF7900"/>
              </a:solidFill>
              <a:effectLst/>
              <a:uLnTx/>
              <a:uFillTx/>
              <a:latin typeface="Arial Black" panose="020B0A04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8683" y="3839552"/>
            <a:ext cx="2106383" cy="2615251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31" t="2804" r="3967" b="2493"/>
          <a:stretch/>
        </p:blipFill>
        <p:spPr>
          <a:xfrm>
            <a:off x="9100114" y="3809480"/>
            <a:ext cx="2149325" cy="2645323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7073492" y="6480644"/>
            <a:ext cx="10014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002060"/>
                </a:solidFill>
              </a:rPr>
              <a:t>до ККР</a:t>
            </a:r>
            <a:endParaRPr lang="ru-RU" sz="1400" dirty="0">
              <a:solidFill>
                <a:srgbClr val="00206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9897484" y="6443098"/>
            <a:ext cx="11875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002060"/>
                </a:solidFill>
              </a:rPr>
              <a:t>после ККР</a:t>
            </a:r>
            <a:endParaRPr lang="ru-RU" sz="1400" dirty="0">
              <a:solidFill>
                <a:srgbClr val="002060"/>
              </a:solidFill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31364F3C-E64E-5BE9-6BA9-941121EEFA73}"/>
              </a:ext>
            </a:extLst>
          </p:cNvPr>
          <p:cNvSpPr/>
          <p:nvPr/>
        </p:nvSpPr>
        <p:spPr>
          <a:xfrm>
            <a:off x="2023466" y="944235"/>
            <a:ext cx="165627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solidFill>
                  <a:srgbClr val="FF7900"/>
                </a:solidFill>
                <a:latin typeface="Arial Black" panose="020B0A04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ЦЕЛИ</a:t>
            </a:r>
            <a:endParaRPr kumimoji="0" lang="ru-RU" sz="2400" b="1" i="0" u="none" strike="noStrike" kern="1200" cap="none" spc="0" normalizeH="0" baseline="0" noProof="0" dirty="0" smtClean="0">
              <a:ln>
                <a:noFill/>
              </a:ln>
              <a:solidFill>
                <a:srgbClr val="FF7900"/>
              </a:solidFill>
              <a:effectLst/>
              <a:uLnTx/>
              <a:uFillTx/>
              <a:latin typeface="Arial Black" panose="020B0A04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83023" y="3564791"/>
            <a:ext cx="5482035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ru-RU" sz="1600" b="1" dirty="0" smtClean="0">
                <a:solidFill>
                  <a:srgbClr val="00CC99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Увеличение</a:t>
            </a:r>
            <a:r>
              <a:rPr lang="ru-RU" sz="1600" b="1" dirty="0" smtClean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ln/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налогооблагаемой базы </a:t>
            </a:r>
            <a:r>
              <a:rPr lang="ru-RU" sz="1600" b="1" dirty="0">
                <a:ln/>
                <a:solidFill>
                  <a:srgbClr val="00CC99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+8,8% </a:t>
            </a:r>
            <a:r>
              <a:rPr lang="ru-RU" sz="1600" dirty="0">
                <a:ln/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по итогам года, следующего за годом проведения ККР </a:t>
            </a:r>
            <a:endParaRPr lang="ru-RU" sz="1600" dirty="0">
              <a:solidFill>
                <a:srgbClr val="00206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600" b="1" dirty="0" smtClean="0">
                <a:solidFill>
                  <a:srgbClr val="00CC99"/>
                </a:solidFill>
              </a:rPr>
              <a:t>Освобождение </a:t>
            </a:r>
            <a:r>
              <a:rPr lang="ru-RU" sz="1600" dirty="0">
                <a:ln/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правообладателей от необходимости проведения кадастровых работ новых </a:t>
            </a:r>
            <a:r>
              <a:rPr lang="ru-RU" sz="1600" dirty="0" smtClean="0">
                <a:ln/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ЗУ (в среднем </a:t>
            </a:r>
            <a:r>
              <a:rPr lang="ru-RU" sz="1600" b="1" dirty="0" smtClean="0">
                <a:ln/>
                <a:solidFill>
                  <a:srgbClr val="00CC99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9 тыс. </a:t>
            </a:r>
            <a:r>
              <a:rPr lang="ru-RU" sz="1600" b="1" dirty="0">
                <a:ln/>
                <a:solidFill>
                  <a:srgbClr val="00CC99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руб. за объект</a:t>
            </a:r>
            <a:r>
              <a:rPr lang="ru-RU" sz="1600" dirty="0" smtClean="0">
                <a:ln/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)</a:t>
            </a:r>
            <a:endParaRPr lang="ru-RU" sz="1600" dirty="0">
              <a:ln/>
              <a:solidFill>
                <a:srgbClr val="002060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600" b="1" dirty="0" smtClean="0">
                <a:solidFill>
                  <a:srgbClr val="00CC99"/>
                </a:solidFill>
              </a:rPr>
              <a:t>Выявление </a:t>
            </a:r>
            <a:r>
              <a:rPr lang="ru-RU" sz="1600" dirty="0">
                <a:solidFill>
                  <a:srgbClr val="002060"/>
                </a:solidFill>
              </a:rPr>
              <a:t>правообладателей ранее учтенных </a:t>
            </a:r>
            <a:r>
              <a:rPr lang="ru-RU" sz="1600" dirty="0" smtClean="0">
                <a:solidFill>
                  <a:srgbClr val="002060"/>
                </a:solidFill>
              </a:rPr>
              <a:t>ОН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600" b="1" dirty="0" smtClean="0">
                <a:solidFill>
                  <a:srgbClr val="00CC99"/>
                </a:solidFill>
              </a:rPr>
              <a:t>Выявление </a:t>
            </a:r>
            <a:r>
              <a:rPr lang="ru-RU" sz="1600" dirty="0" smtClean="0">
                <a:solidFill>
                  <a:srgbClr val="002060"/>
                </a:solidFill>
              </a:rPr>
              <a:t>самовольного </a:t>
            </a:r>
            <a:r>
              <a:rPr lang="ru-RU" sz="1600" dirty="0">
                <a:solidFill>
                  <a:srgbClr val="002060"/>
                </a:solidFill>
              </a:rPr>
              <a:t>захвата ЗУ и самовольных </a:t>
            </a:r>
            <a:r>
              <a:rPr lang="ru-RU" sz="1600" dirty="0" smtClean="0">
                <a:solidFill>
                  <a:srgbClr val="002060"/>
                </a:solidFill>
              </a:rPr>
              <a:t>построек и применение мер реагирования (направление информации Заказчику и в </a:t>
            </a:r>
            <a:r>
              <a:rPr lang="ru-RU" sz="1600" dirty="0" err="1" smtClean="0">
                <a:solidFill>
                  <a:srgbClr val="002060"/>
                </a:solidFill>
              </a:rPr>
              <a:t>Госземнадзор</a:t>
            </a:r>
            <a:r>
              <a:rPr lang="ru-RU" sz="1600" dirty="0" smtClean="0">
                <a:solidFill>
                  <a:srgbClr val="002060"/>
                </a:solidFill>
              </a:rPr>
              <a:t>)</a:t>
            </a:r>
          </a:p>
          <a:p>
            <a:pPr marL="285750" indent="-285750">
              <a:buFont typeface="Wingdings" panose="05000000000000000000" pitchFamily="2" charset="2"/>
              <a:buChar char="Ø"/>
              <a:defRPr/>
            </a:pPr>
            <a:r>
              <a:rPr lang="ru-RU" sz="1600" b="1" dirty="0" smtClean="0">
                <a:solidFill>
                  <a:srgbClr val="00CC99"/>
                </a:solidFill>
              </a:rPr>
              <a:t>Снижение </a:t>
            </a:r>
            <a:r>
              <a:rPr lang="ru-RU" sz="1600" dirty="0" smtClean="0">
                <a:solidFill>
                  <a:srgbClr val="002060"/>
                </a:solidFill>
              </a:rPr>
              <a:t>земельных споров, </a:t>
            </a:r>
            <a:r>
              <a:rPr lang="ru-RU" sz="1600" b="1" dirty="0" smtClean="0">
                <a:solidFill>
                  <a:srgbClr val="00CC99"/>
                </a:solidFill>
              </a:rPr>
              <a:t>освобождение </a:t>
            </a:r>
          </a:p>
          <a:p>
            <a:pPr>
              <a:tabLst>
                <a:tab pos="265113" algn="l"/>
              </a:tabLst>
              <a:defRPr/>
            </a:pPr>
            <a:r>
              <a:rPr lang="ru-RU" sz="1600" dirty="0">
                <a:solidFill>
                  <a:srgbClr val="002060"/>
                </a:solidFill>
              </a:rPr>
              <a:t>	</a:t>
            </a:r>
            <a:r>
              <a:rPr lang="ru-RU" sz="1600" dirty="0" smtClean="0">
                <a:solidFill>
                  <a:srgbClr val="002060"/>
                </a:solidFill>
              </a:rPr>
              <a:t>правообладателей от судебных расходов</a:t>
            </a:r>
            <a:endParaRPr lang="ru-RU" sz="1600" dirty="0">
              <a:solidFill>
                <a:srgbClr val="002060"/>
              </a:solidFill>
            </a:endParaRPr>
          </a:p>
          <a:p>
            <a:pPr>
              <a:defRPr/>
            </a:pPr>
            <a:endParaRPr lang="ru-RU" sz="1600" b="1" dirty="0" smtClean="0">
              <a:solidFill>
                <a:srgbClr val="00CC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224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3</a:t>
            </a:fld>
            <a:endParaRPr lang="en-US" dirty="0"/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3426430692"/>
              </p:ext>
            </p:extLst>
          </p:nvPr>
        </p:nvGraphicFramePr>
        <p:xfrm>
          <a:off x="6613239" y="1230026"/>
          <a:ext cx="2456873" cy="34913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9" name="Заголовок 2"/>
          <p:cNvSpPr>
            <a:spLocks noGrp="1"/>
          </p:cNvSpPr>
          <p:nvPr>
            <p:ph type="title"/>
          </p:nvPr>
        </p:nvSpPr>
        <p:spPr>
          <a:xfrm>
            <a:off x="925900" y="0"/>
            <a:ext cx="10534651" cy="825499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sz="3100" dirty="0" smtClean="0"/>
              <a:t>Финансирование комплексных кадастровых работ</a:t>
            </a:r>
            <a:r>
              <a:rPr lang="ru-RU" sz="3100" dirty="0"/>
              <a:t/>
            </a:r>
            <a:br>
              <a:rPr lang="ru-RU" sz="3100" dirty="0"/>
            </a:br>
            <a:endParaRPr lang="ru-RU" sz="3100" dirty="0"/>
          </a:p>
        </p:txBody>
      </p:sp>
      <p:graphicFrame>
        <p:nvGraphicFramePr>
          <p:cNvPr id="16" name="Диаграмма 15"/>
          <p:cNvGraphicFramePr/>
          <p:nvPr>
            <p:extLst>
              <p:ext uri="{D42A27DB-BD31-4B8C-83A1-F6EECF244321}">
                <p14:modId xmlns:p14="http://schemas.microsoft.com/office/powerpoint/2010/main" val="1378876073"/>
              </p:ext>
            </p:extLst>
          </p:nvPr>
        </p:nvGraphicFramePr>
        <p:xfrm>
          <a:off x="8839759" y="1175503"/>
          <a:ext cx="3694545" cy="34274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31364F3C-E64E-5BE9-6BA9-941121EEFA73}"/>
              </a:ext>
            </a:extLst>
          </p:cNvPr>
          <p:cNvSpPr/>
          <p:nvPr/>
        </p:nvSpPr>
        <p:spPr>
          <a:xfrm>
            <a:off x="8468211" y="1351004"/>
            <a:ext cx="1424708" cy="4205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20863">
              <a:defRPr/>
            </a:pPr>
            <a:r>
              <a:rPr lang="ru-RU" sz="2133" b="1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млн руб.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31364F3C-E64E-5BE9-6BA9-941121EEFA73}"/>
              </a:ext>
            </a:extLst>
          </p:cNvPr>
          <p:cNvSpPr/>
          <p:nvPr/>
        </p:nvSpPr>
        <p:spPr>
          <a:xfrm>
            <a:off x="9973306" y="1325693"/>
            <a:ext cx="2409536" cy="379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20863">
              <a:defRPr/>
            </a:pPr>
            <a:r>
              <a:rPr lang="ru-RU" sz="1867" b="1" dirty="0" smtClean="0">
                <a:solidFill>
                  <a:schemeClr val="accent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вне рамок </a:t>
            </a:r>
            <a:r>
              <a:rPr lang="ru-RU" sz="1867" dirty="0" smtClean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НСПД</a:t>
            </a:r>
            <a:endParaRPr lang="ru-RU" sz="1867" dirty="0">
              <a:solidFill>
                <a:srgbClr val="002060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cxnSp>
        <p:nvCxnSpPr>
          <p:cNvPr id="76" name="Прямая соединительная линия 75"/>
          <p:cNvCxnSpPr/>
          <p:nvPr/>
        </p:nvCxnSpPr>
        <p:spPr>
          <a:xfrm>
            <a:off x="6334186" y="1022517"/>
            <a:ext cx="36945" cy="56803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Прямоугольник 90">
            <a:extLst>
              <a:ext uri="{FF2B5EF4-FFF2-40B4-BE49-F238E27FC236}">
                <a16:creationId xmlns:a16="http://schemas.microsoft.com/office/drawing/2014/main" id="{31364F3C-E64E-5BE9-6BA9-941121EEFA73}"/>
              </a:ext>
            </a:extLst>
          </p:cNvPr>
          <p:cNvSpPr/>
          <p:nvPr/>
        </p:nvSpPr>
        <p:spPr>
          <a:xfrm>
            <a:off x="8519279" y="821058"/>
            <a:ext cx="172528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20863">
              <a:defRPr/>
            </a:pPr>
            <a:r>
              <a:rPr lang="ru-RU" sz="3200" b="1" dirty="0" smtClean="0">
                <a:solidFill>
                  <a:srgbClr val="FF7900"/>
                </a:solidFill>
                <a:latin typeface="Arial Black" panose="020B0A04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ЛАН</a:t>
            </a:r>
            <a:endParaRPr lang="ru-RU" sz="3200" b="1" dirty="0">
              <a:solidFill>
                <a:srgbClr val="FF7900"/>
              </a:solidFill>
              <a:latin typeface="Arial Black" panose="020B0A04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31364F3C-E64E-5BE9-6BA9-941121EEFA73}"/>
              </a:ext>
            </a:extLst>
          </p:cNvPr>
          <p:cNvSpPr/>
          <p:nvPr/>
        </p:nvSpPr>
        <p:spPr>
          <a:xfrm>
            <a:off x="6478794" y="1339714"/>
            <a:ext cx="2409536" cy="379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20863">
              <a:defRPr/>
            </a:pPr>
            <a:r>
              <a:rPr lang="ru-RU" sz="1867" b="1" dirty="0">
                <a:solidFill>
                  <a:schemeClr val="accent1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в рамках </a:t>
            </a:r>
            <a:r>
              <a:rPr lang="ru-RU" sz="1867" dirty="0" smtClean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НСПД</a:t>
            </a:r>
            <a:endParaRPr lang="ru-RU" sz="1867" dirty="0">
              <a:solidFill>
                <a:srgbClr val="002060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52" name="Диаграмма 51"/>
          <p:cNvGraphicFramePr/>
          <p:nvPr>
            <p:extLst>
              <p:ext uri="{D42A27DB-BD31-4B8C-83A1-F6EECF244321}">
                <p14:modId xmlns:p14="http://schemas.microsoft.com/office/powerpoint/2010/main" val="701215226"/>
              </p:ext>
            </p:extLst>
          </p:nvPr>
        </p:nvGraphicFramePr>
        <p:xfrm>
          <a:off x="331202" y="1231598"/>
          <a:ext cx="2345033" cy="3332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31364F3C-E64E-5BE9-6BA9-941121EEFA73}"/>
              </a:ext>
            </a:extLst>
          </p:cNvPr>
          <p:cNvSpPr/>
          <p:nvPr/>
        </p:nvSpPr>
        <p:spPr>
          <a:xfrm>
            <a:off x="1926187" y="864736"/>
            <a:ext cx="215240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20863">
              <a:defRPr/>
            </a:pPr>
            <a:r>
              <a:rPr lang="ru-RU" sz="3200" b="1" dirty="0" smtClean="0">
                <a:solidFill>
                  <a:srgbClr val="FF7900"/>
                </a:solidFill>
                <a:latin typeface="Arial Black" panose="020B0A04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ТОГИ</a:t>
            </a:r>
            <a:endParaRPr lang="ru-RU" sz="3200" b="1" dirty="0">
              <a:solidFill>
                <a:srgbClr val="FF7900"/>
              </a:solidFill>
              <a:latin typeface="Arial Black" panose="020B0A040201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67" name="Скругленный прямоугольник 33">
            <a:extLst>
              <a:ext uri="{FF2B5EF4-FFF2-40B4-BE49-F238E27FC236}">
                <a16:creationId xmlns:a16="http://schemas.microsoft.com/office/drawing/2014/main" id="{A74EFB7D-46FD-4939-BA3E-68EA8890A21E}"/>
              </a:ext>
            </a:extLst>
          </p:cNvPr>
          <p:cNvSpPr/>
          <p:nvPr/>
        </p:nvSpPr>
        <p:spPr>
          <a:xfrm>
            <a:off x="6468047" y="4938509"/>
            <a:ext cx="928836" cy="374778"/>
          </a:xfrm>
          <a:prstGeom prst="roundRect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0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5" tIns="34287" rIns="68575" bIns="34287" rtlCol="0" anchor="ctr"/>
          <a:lstStyle/>
          <a:p>
            <a:pPr algn="ctr" defTabSz="685718">
              <a:defRPr/>
            </a:pPr>
            <a:r>
              <a:rPr lang="ru-RU" sz="2000" b="1" dirty="0" smtClean="0">
                <a:solidFill>
                  <a:srgbClr val="002060"/>
                </a:solidFill>
              </a:rPr>
              <a:t>2023</a:t>
            </a:r>
            <a:endParaRPr lang="ru-RU" sz="2000" b="1" dirty="0">
              <a:solidFill>
                <a:srgbClr val="002060"/>
              </a:solidFill>
            </a:endParaRPr>
          </a:p>
        </p:txBody>
      </p:sp>
      <p:sp>
        <p:nvSpPr>
          <p:cNvPr id="68" name="Стрелка вправо 67"/>
          <p:cNvSpPr/>
          <p:nvPr/>
        </p:nvSpPr>
        <p:spPr>
          <a:xfrm>
            <a:off x="7594501" y="4974067"/>
            <a:ext cx="819262" cy="433680"/>
          </a:xfrm>
          <a:prstGeom prst="rightArrow">
            <a:avLst/>
          </a:prstGeom>
          <a:gradFill>
            <a:gsLst>
              <a:gs pos="59600">
                <a:schemeClr val="tx2">
                  <a:lumMod val="40000"/>
                  <a:lumOff val="60000"/>
                </a:schemeClr>
              </a:gs>
              <a:gs pos="0">
                <a:schemeClr val="bg1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69" name="Rectangle: Rounded Corners 28">
            <a:extLst>
              <a:ext uri="{FF2B5EF4-FFF2-40B4-BE49-F238E27FC236}">
                <a16:creationId xmlns:a16="http://schemas.microsoft.com/office/drawing/2014/main" id="{A64EAE46-AF01-4B6B-9362-45522046E039}"/>
              </a:ext>
            </a:extLst>
          </p:cNvPr>
          <p:cNvSpPr/>
          <p:nvPr/>
        </p:nvSpPr>
        <p:spPr>
          <a:xfrm>
            <a:off x="10704145" y="4791808"/>
            <a:ext cx="1320036" cy="716638"/>
          </a:xfrm>
          <a:prstGeom prst="roundRect">
            <a:avLst/>
          </a:prstGeom>
          <a:solidFill>
            <a:srgbClr val="00CC99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ru-RU" sz="1800" b="1" dirty="0" smtClean="0">
                <a:solidFill>
                  <a:srgbClr val="002060"/>
                </a:solidFill>
              </a:rPr>
              <a:t>1 242 333</a:t>
            </a:r>
          </a:p>
          <a:p>
            <a:pPr algn="ctr"/>
            <a:r>
              <a:rPr lang="ru-RU" sz="1200" b="1" dirty="0" smtClean="0">
                <a:solidFill>
                  <a:schemeClr val="accent2"/>
                </a:solidFill>
              </a:rPr>
              <a:t>ОН</a:t>
            </a:r>
            <a:endParaRPr lang="ru-RU" sz="1200" b="1" dirty="0">
              <a:solidFill>
                <a:schemeClr val="accent2"/>
              </a:solidFill>
            </a:endParaRPr>
          </a:p>
        </p:txBody>
      </p:sp>
      <p:sp>
        <p:nvSpPr>
          <p:cNvPr id="72" name="Скругленный прямоугольник 33">
            <a:extLst>
              <a:ext uri="{FF2B5EF4-FFF2-40B4-BE49-F238E27FC236}">
                <a16:creationId xmlns:a16="http://schemas.microsoft.com/office/drawing/2014/main" id="{A74EFB7D-46FD-4939-BA3E-68EA8890A21E}"/>
              </a:ext>
            </a:extLst>
          </p:cNvPr>
          <p:cNvSpPr/>
          <p:nvPr/>
        </p:nvSpPr>
        <p:spPr>
          <a:xfrm>
            <a:off x="6468047" y="5862168"/>
            <a:ext cx="962922" cy="374778"/>
          </a:xfrm>
          <a:prstGeom prst="roundRect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0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5" tIns="34287" rIns="68575" bIns="34287" rtlCol="0" anchor="ctr"/>
          <a:lstStyle/>
          <a:p>
            <a:pPr algn="ctr" defTabSz="685718">
              <a:defRPr/>
            </a:pPr>
            <a:r>
              <a:rPr lang="ru-RU" sz="2000" b="1" dirty="0" smtClean="0">
                <a:solidFill>
                  <a:srgbClr val="002060"/>
                </a:solidFill>
              </a:rPr>
              <a:t>2024</a:t>
            </a:r>
            <a:endParaRPr lang="ru-RU" sz="2000" b="1" dirty="0">
              <a:solidFill>
                <a:srgbClr val="002060"/>
              </a:solidFill>
            </a:endParaRPr>
          </a:p>
        </p:txBody>
      </p:sp>
      <p:sp>
        <p:nvSpPr>
          <p:cNvPr id="73" name="Стрелка вправо 72"/>
          <p:cNvSpPr/>
          <p:nvPr/>
        </p:nvSpPr>
        <p:spPr>
          <a:xfrm>
            <a:off x="7581628" y="5818142"/>
            <a:ext cx="819262" cy="433680"/>
          </a:xfrm>
          <a:prstGeom prst="rightArrow">
            <a:avLst/>
          </a:prstGeom>
          <a:gradFill>
            <a:gsLst>
              <a:gs pos="59600">
                <a:schemeClr val="tx2">
                  <a:lumMod val="40000"/>
                  <a:lumOff val="60000"/>
                </a:schemeClr>
              </a:gs>
              <a:gs pos="0">
                <a:schemeClr val="bg1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74" name="Rectangle: Rounded Corners 28">
            <a:extLst>
              <a:ext uri="{FF2B5EF4-FFF2-40B4-BE49-F238E27FC236}">
                <a16:creationId xmlns:a16="http://schemas.microsoft.com/office/drawing/2014/main" id="{A64EAE46-AF01-4B6B-9362-45522046E039}"/>
              </a:ext>
            </a:extLst>
          </p:cNvPr>
          <p:cNvSpPr/>
          <p:nvPr/>
        </p:nvSpPr>
        <p:spPr>
          <a:xfrm>
            <a:off x="10704145" y="5662784"/>
            <a:ext cx="1302922" cy="680004"/>
          </a:xfrm>
          <a:prstGeom prst="roundRect">
            <a:avLst/>
          </a:prstGeom>
          <a:solidFill>
            <a:srgbClr val="00CC99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ru-RU" sz="1800" b="1" dirty="0" smtClean="0">
                <a:solidFill>
                  <a:srgbClr val="002060"/>
                </a:solidFill>
              </a:rPr>
              <a:t>1 342 167</a:t>
            </a:r>
          </a:p>
          <a:p>
            <a:pPr algn="ctr"/>
            <a:r>
              <a:rPr lang="ru-RU" sz="1200" b="1" dirty="0" smtClean="0">
                <a:solidFill>
                  <a:schemeClr val="accent2"/>
                </a:solidFill>
              </a:rPr>
              <a:t>ОН</a:t>
            </a:r>
            <a:endParaRPr lang="ru-RU" sz="1200" b="1" dirty="0">
              <a:solidFill>
                <a:schemeClr val="accent2"/>
              </a:solidFill>
            </a:endParaRPr>
          </a:p>
        </p:txBody>
      </p:sp>
      <p:sp>
        <p:nvSpPr>
          <p:cNvPr id="75" name="Скругленный прямоугольник 33">
            <a:extLst>
              <a:ext uri="{FF2B5EF4-FFF2-40B4-BE49-F238E27FC236}">
                <a16:creationId xmlns:a16="http://schemas.microsoft.com/office/drawing/2014/main" id="{A74EFB7D-46FD-4939-BA3E-68EA8890A21E}"/>
              </a:ext>
            </a:extLst>
          </p:cNvPr>
          <p:cNvSpPr/>
          <p:nvPr/>
        </p:nvSpPr>
        <p:spPr>
          <a:xfrm>
            <a:off x="3402485" y="1501730"/>
            <a:ext cx="1146047" cy="435670"/>
          </a:xfrm>
          <a:prstGeom prst="roundRect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0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5" tIns="34287" rIns="68575" bIns="34287" rtlCol="0" anchor="ctr"/>
          <a:lstStyle/>
          <a:p>
            <a:pPr algn="ctr" defTabSz="685718">
              <a:defRPr/>
            </a:pPr>
            <a:r>
              <a:rPr lang="ru-RU" sz="2000" b="1" dirty="0" smtClean="0">
                <a:solidFill>
                  <a:srgbClr val="002060"/>
                </a:solidFill>
                <a:latin typeface="Calibri" panose="020F0502020204030204"/>
              </a:rPr>
              <a:t>2021</a:t>
            </a:r>
            <a:endParaRPr lang="ru-RU" sz="2000" b="1" dirty="0">
              <a:solidFill>
                <a:srgbClr val="002060"/>
              </a:solidFill>
              <a:latin typeface="Calibri" panose="020F0502020204030204"/>
            </a:endParaRPr>
          </a:p>
        </p:txBody>
      </p:sp>
      <p:sp>
        <p:nvSpPr>
          <p:cNvPr id="77" name="Стрелка вправо 76"/>
          <p:cNvSpPr/>
          <p:nvPr/>
        </p:nvSpPr>
        <p:spPr>
          <a:xfrm rot="5400000">
            <a:off x="3853025" y="1934765"/>
            <a:ext cx="345058" cy="433680"/>
          </a:xfrm>
          <a:prstGeom prst="rightArrow">
            <a:avLst/>
          </a:prstGeom>
          <a:gradFill>
            <a:gsLst>
              <a:gs pos="59600">
                <a:schemeClr val="tx2">
                  <a:lumMod val="40000"/>
                  <a:lumOff val="60000"/>
                </a:schemeClr>
              </a:gs>
              <a:gs pos="0">
                <a:schemeClr val="bg1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78" name="Rectangle: Rounded Corners 28">
            <a:extLst>
              <a:ext uri="{FF2B5EF4-FFF2-40B4-BE49-F238E27FC236}">
                <a16:creationId xmlns:a16="http://schemas.microsoft.com/office/drawing/2014/main" id="{A64EAE46-AF01-4B6B-9362-45522046E039}"/>
              </a:ext>
            </a:extLst>
          </p:cNvPr>
          <p:cNvSpPr/>
          <p:nvPr/>
        </p:nvSpPr>
        <p:spPr>
          <a:xfrm>
            <a:off x="3364703" y="3423354"/>
            <a:ext cx="1349355" cy="579594"/>
          </a:xfrm>
          <a:prstGeom prst="roundRect">
            <a:avLst/>
          </a:prstGeom>
          <a:solidFill>
            <a:srgbClr val="00CC99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ru-RU" sz="1800" b="1" dirty="0" smtClean="0">
                <a:solidFill>
                  <a:srgbClr val="002060"/>
                </a:solidFill>
              </a:rPr>
              <a:t>202</a:t>
            </a:r>
            <a:r>
              <a:rPr lang="ru-RU" sz="1800" b="1" dirty="0" smtClean="0">
                <a:solidFill>
                  <a:srgbClr val="002060"/>
                </a:solidFill>
              </a:rPr>
              <a:t> 727</a:t>
            </a:r>
          </a:p>
          <a:p>
            <a:pPr algn="ctr"/>
            <a:r>
              <a:rPr lang="ru-RU" sz="1200" b="1" dirty="0" smtClean="0">
                <a:solidFill>
                  <a:schemeClr val="accent2"/>
                </a:solidFill>
              </a:rPr>
              <a:t>ОН</a:t>
            </a:r>
            <a:endParaRPr lang="ru-RU" sz="1200" b="1" dirty="0" smtClean="0">
              <a:solidFill>
                <a:schemeClr val="accent2"/>
              </a:solidFill>
            </a:endParaRPr>
          </a:p>
        </p:txBody>
      </p:sp>
      <p:sp>
        <p:nvSpPr>
          <p:cNvPr id="82" name="Скругленный прямоугольник 33">
            <a:extLst>
              <a:ext uri="{FF2B5EF4-FFF2-40B4-BE49-F238E27FC236}">
                <a16:creationId xmlns:a16="http://schemas.microsoft.com/office/drawing/2014/main" id="{A74EFB7D-46FD-4939-BA3E-68EA8890A21E}"/>
              </a:ext>
            </a:extLst>
          </p:cNvPr>
          <p:cNvSpPr/>
          <p:nvPr/>
        </p:nvSpPr>
        <p:spPr>
          <a:xfrm>
            <a:off x="5020091" y="1501340"/>
            <a:ext cx="1062042" cy="436060"/>
          </a:xfrm>
          <a:prstGeom prst="roundRect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0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5" tIns="34287" rIns="68575" bIns="34287" rtlCol="0" anchor="ctr"/>
          <a:lstStyle/>
          <a:p>
            <a:pPr algn="ctr" defTabSz="685718">
              <a:defRPr/>
            </a:pPr>
            <a:r>
              <a:rPr lang="ru-RU" sz="2000" b="1" dirty="0" smtClean="0">
                <a:solidFill>
                  <a:srgbClr val="002060"/>
                </a:solidFill>
                <a:latin typeface="Calibri" panose="020F0502020204030204"/>
              </a:rPr>
              <a:t>2022</a:t>
            </a:r>
            <a:endParaRPr lang="ru-RU" sz="2000" b="1" dirty="0">
              <a:solidFill>
                <a:srgbClr val="002060"/>
              </a:solidFill>
              <a:latin typeface="Calibri" panose="020F0502020204030204"/>
            </a:endParaRPr>
          </a:p>
        </p:txBody>
      </p:sp>
      <p:sp>
        <p:nvSpPr>
          <p:cNvPr id="88" name="Rectangle: Rounded Corners 28">
            <a:extLst>
              <a:ext uri="{FF2B5EF4-FFF2-40B4-BE49-F238E27FC236}">
                <a16:creationId xmlns:a16="http://schemas.microsoft.com/office/drawing/2014/main" id="{A64EAE46-AF01-4B6B-9362-45522046E039}"/>
              </a:ext>
            </a:extLst>
          </p:cNvPr>
          <p:cNvSpPr/>
          <p:nvPr/>
        </p:nvSpPr>
        <p:spPr>
          <a:xfrm>
            <a:off x="4902756" y="3408088"/>
            <a:ext cx="1350264" cy="579594"/>
          </a:xfrm>
          <a:prstGeom prst="roundRect">
            <a:avLst/>
          </a:prstGeom>
          <a:solidFill>
            <a:srgbClr val="00CC99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ru-RU" sz="1800" b="1" dirty="0" smtClean="0">
                <a:solidFill>
                  <a:srgbClr val="002060"/>
                </a:solidFill>
              </a:rPr>
              <a:t>919</a:t>
            </a:r>
            <a:r>
              <a:rPr lang="ru-RU" sz="1800" b="1" dirty="0" smtClean="0">
                <a:solidFill>
                  <a:srgbClr val="002060"/>
                </a:solidFill>
              </a:rPr>
              <a:t> 004</a:t>
            </a:r>
          </a:p>
          <a:p>
            <a:pPr algn="ctr"/>
            <a:r>
              <a:rPr lang="ru-RU" sz="1200" b="1" dirty="0" smtClean="0">
                <a:solidFill>
                  <a:schemeClr val="accent2"/>
                </a:solidFill>
              </a:rPr>
              <a:t>ОН</a:t>
            </a:r>
            <a:endParaRPr lang="ru-RU" sz="1200" b="1" dirty="0">
              <a:solidFill>
                <a:schemeClr val="accent2"/>
              </a:solidFill>
            </a:endParaRPr>
          </a:p>
        </p:txBody>
      </p:sp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id="{31364F3C-E64E-5BE9-6BA9-941121EEFA73}"/>
              </a:ext>
            </a:extLst>
          </p:cNvPr>
          <p:cNvSpPr/>
          <p:nvPr/>
        </p:nvSpPr>
        <p:spPr>
          <a:xfrm>
            <a:off x="372596" y="1405833"/>
            <a:ext cx="1424708" cy="4205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20863">
              <a:defRPr/>
            </a:pPr>
            <a:r>
              <a:rPr lang="ru-RU" sz="2133" b="1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млн руб.</a:t>
            </a:r>
          </a:p>
        </p:txBody>
      </p:sp>
      <p:graphicFrame>
        <p:nvGraphicFramePr>
          <p:cNvPr id="92" name="Таблица 91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1778393407"/>
              </p:ext>
            </p:extLst>
          </p:nvPr>
        </p:nvGraphicFramePr>
        <p:xfrm>
          <a:off x="432588" y="4695390"/>
          <a:ext cx="5616567" cy="1753945"/>
        </p:xfrm>
        <a:graphic>
          <a:graphicData uri="http://schemas.openxmlformats.org/drawingml/2006/table">
            <a:tbl>
              <a:tblPr bandRow="1">
                <a:tableStyleId>{D27102A9-8310-4765-A935-A1911B00CA55}</a:tableStyleId>
              </a:tblPr>
              <a:tblGrid>
                <a:gridCol w="2053347">
                  <a:extLst>
                    <a:ext uri="{9D8B030D-6E8A-4147-A177-3AD203B41FA5}">
                      <a16:colId xmlns:a16="http://schemas.microsoft.com/office/drawing/2014/main" val="1719028799"/>
                    </a:ext>
                  </a:extLst>
                </a:gridCol>
                <a:gridCol w="1481153">
                  <a:extLst>
                    <a:ext uri="{9D8B030D-6E8A-4147-A177-3AD203B41FA5}">
                      <a16:colId xmlns:a16="http://schemas.microsoft.com/office/drawing/2014/main" val="76830859"/>
                    </a:ext>
                  </a:extLst>
                </a:gridCol>
                <a:gridCol w="778968">
                  <a:extLst>
                    <a:ext uri="{9D8B030D-6E8A-4147-A177-3AD203B41FA5}">
                      <a16:colId xmlns:a16="http://schemas.microsoft.com/office/drawing/2014/main" val="1535239513"/>
                    </a:ext>
                  </a:extLst>
                </a:gridCol>
                <a:gridCol w="1303099">
                  <a:extLst>
                    <a:ext uri="{9D8B030D-6E8A-4147-A177-3AD203B41FA5}">
                      <a16:colId xmlns:a16="http://schemas.microsoft.com/office/drawing/2014/main" val="3849029801"/>
                    </a:ext>
                  </a:extLst>
                </a:gridCol>
              </a:tblGrid>
              <a:tr h="298641">
                <a:tc gridSpan="4">
                  <a:txBody>
                    <a:bodyPr/>
                    <a:lstStyle/>
                    <a:p>
                      <a:pPr marL="72000" algn="ctr" fontAlgn="ctr"/>
                      <a:r>
                        <a:rPr lang="ru-RU" sz="12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Итоги ККР 2022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72000" algn="ctr" fontAlgn="ctr"/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0" u="none" strike="noStrike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1396705"/>
                  </a:ext>
                </a:extLst>
              </a:tr>
              <a:tr h="388440"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2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Субъект</a:t>
                      </a:r>
                      <a:r>
                        <a:rPr lang="ru-RU" sz="1200" b="1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РФ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2000" algn="ctr" fontAlgn="ctr"/>
                      <a:r>
                        <a:rPr lang="ru-RU" sz="1200" b="1" i="0" u="none" strike="noStrike" dirty="0" smtClean="0">
                          <a:solidFill>
                            <a:srgbClr val="00CC99"/>
                          </a:solidFill>
                          <a:effectLst/>
                          <a:latin typeface="+mn-lt"/>
                        </a:rPr>
                        <a:t>ФБ + РБ, </a:t>
                      </a:r>
                    </a:p>
                    <a:p>
                      <a:pPr marL="72000" algn="ctr" fontAlgn="ctr"/>
                      <a:r>
                        <a:rPr lang="ru-RU" sz="12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тыс. руб.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00CC99"/>
                          </a:solidFill>
                          <a:effectLst/>
                          <a:latin typeface="+mn-lt"/>
                        </a:rPr>
                        <a:t>План, </a:t>
                      </a:r>
                    </a:p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ОН</a:t>
                      </a:r>
                      <a:endParaRPr lang="ru-RU" sz="1200" b="1" i="0" u="none" strike="noStrike" dirty="0" smtClean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</a:rPr>
                        <a:t>Факт,</a:t>
                      </a:r>
                    </a:p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ОН</a:t>
                      </a:r>
                      <a:endParaRPr lang="ru-RU" sz="1200" b="1" i="0" u="none" strike="noStrike" dirty="0" smtClean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0777548"/>
                  </a:ext>
                </a:extLst>
              </a:tr>
              <a:tr h="224518"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Республика Бурят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9 539 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4 057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+mn-lt"/>
                        </a:rPr>
                        <a:t>31 202 (222%)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3160564"/>
                  </a:ext>
                </a:extLst>
              </a:tr>
              <a:tr h="2245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Красноярский край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 022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 790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+mn-lt"/>
                        </a:rPr>
                        <a:t>2 906 (104%)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5038905"/>
                  </a:ext>
                </a:extLst>
              </a:tr>
              <a:tr h="21387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Калужская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область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7 931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4 500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1 120 (168%)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1677266"/>
                  </a:ext>
                </a:extLst>
              </a:tr>
              <a:tr h="22451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Томская область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 411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 021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 902 (249%)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89820978"/>
                  </a:ext>
                </a:extLst>
              </a:tr>
              <a:tr h="179439"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i="0" u="none" strike="noStrike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i="0" u="none" strike="noStrike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i="0" u="none" strike="noStrike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i="0" u="none" strike="noStrike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9891047"/>
                  </a:ext>
                </a:extLst>
              </a:tr>
            </a:tbl>
          </a:graphicData>
        </a:graphic>
      </p:graphicFrame>
      <p:sp>
        <p:nvSpPr>
          <p:cNvPr id="95" name="Скругленный прямоугольник 94">
            <a:extLst>
              <a:ext uri="{FF2B5EF4-FFF2-40B4-BE49-F238E27FC236}">
                <a16:creationId xmlns:a16="http://schemas.microsoft.com/office/drawing/2014/main" id="{D5B21F47-D7B8-7541-8B1F-CA29DC6D488D}"/>
              </a:ext>
            </a:extLst>
          </p:cNvPr>
          <p:cNvSpPr>
            <a:spLocks/>
          </p:cNvSpPr>
          <p:nvPr/>
        </p:nvSpPr>
        <p:spPr>
          <a:xfrm>
            <a:off x="432588" y="4701436"/>
            <a:ext cx="5635597" cy="1747900"/>
          </a:xfrm>
          <a:prstGeom prst="roundRect">
            <a:avLst>
              <a:gd name="adj" fmla="val 2775"/>
            </a:avLst>
          </a:prstGeom>
          <a:noFill/>
          <a:ln w="19050">
            <a:solidFill>
              <a:srgbClr val="00B1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577" tIns="36289" rIns="72577" bIns="36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9253">
              <a:defRPr/>
            </a:pPr>
            <a:r>
              <a:rPr lang="ru-RU" sz="556" dirty="0">
                <a:solidFill>
                  <a:srgbClr val="FFFFFF"/>
                </a:solidFill>
                <a:latin typeface="Arial"/>
              </a:rPr>
              <a:t> </a:t>
            </a:r>
          </a:p>
        </p:txBody>
      </p:sp>
      <p:sp>
        <p:nvSpPr>
          <p:cNvPr id="96" name="Rectangle: Rounded Corners 28">
            <a:extLst>
              <a:ext uri="{FF2B5EF4-FFF2-40B4-BE49-F238E27FC236}">
                <a16:creationId xmlns:a16="http://schemas.microsoft.com/office/drawing/2014/main" id="{A64EAE46-AF01-4B6B-9362-45522046E039}"/>
              </a:ext>
            </a:extLst>
          </p:cNvPr>
          <p:cNvSpPr/>
          <p:nvPr/>
        </p:nvSpPr>
        <p:spPr>
          <a:xfrm>
            <a:off x="3348941" y="2320463"/>
            <a:ext cx="1365117" cy="647035"/>
          </a:xfrm>
          <a:prstGeom prst="roundRect">
            <a:avLst/>
          </a:prstGeom>
          <a:solidFill>
            <a:srgbClr val="00CC99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ru-RU" sz="2000" b="1" dirty="0" smtClean="0">
                <a:solidFill>
                  <a:srgbClr val="002060"/>
                </a:solidFill>
              </a:rPr>
              <a:t>20</a:t>
            </a:r>
          </a:p>
          <a:p>
            <a:pPr algn="ctr"/>
            <a:r>
              <a:rPr lang="ru-RU" sz="1200" b="1" dirty="0">
                <a:solidFill>
                  <a:schemeClr val="accent2"/>
                </a:solidFill>
              </a:rPr>
              <a:t>с</a:t>
            </a:r>
            <a:r>
              <a:rPr lang="ru-RU" sz="1200" b="1" dirty="0" smtClean="0">
                <a:solidFill>
                  <a:schemeClr val="accent2"/>
                </a:solidFill>
              </a:rPr>
              <a:t>убъектов РФ </a:t>
            </a:r>
          </a:p>
        </p:txBody>
      </p:sp>
      <p:sp>
        <p:nvSpPr>
          <p:cNvPr id="98" name="Прямоугольник 97">
            <a:extLst>
              <a:ext uri="{FF2B5EF4-FFF2-40B4-BE49-F238E27FC236}">
                <a16:creationId xmlns:a16="http://schemas.microsoft.com/office/drawing/2014/main" id="{31364F3C-E64E-5BE9-6BA9-941121EEFA73}"/>
              </a:ext>
            </a:extLst>
          </p:cNvPr>
          <p:cNvSpPr/>
          <p:nvPr/>
        </p:nvSpPr>
        <p:spPr>
          <a:xfrm>
            <a:off x="3830581" y="1996629"/>
            <a:ext cx="198383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/>
            </a:r>
            <a:br>
              <a:rPr kumimoji="0" lang="ru-RU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</a:br>
            <a:endParaRPr kumimoji="0" lang="ru-RU" sz="140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j-lt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99" name="Rectangle: Rounded Corners 28">
            <a:extLst>
              <a:ext uri="{FF2B5EF4-FFF2-40B4-BE49-F238E27FC236}">
                <a16:creationId xmlns:a16="http://schemas.microsoft.com/office/drawing/2014/main" id="{A64EAE46-AF01-4B6B-9362-45522046E039}"/>
              </a:ext>
            </a:extLst>
          </p:cNvPr>
          <p:cNvSpPr/>
          <p:nvPr/>
        </p:nvSpPr>
        <p:spPr>
          <a:xfrm>
            <a:off x="4902755" y="2324134"/>
            <a:ext cx="1334516" cy="643364"/>
          </a:xfrm>
          <a:prstGeom prst="roundRect">
            <a:avLst/>
          </a:prstGeom>
          <a:solidFill>
            <a:srgbClr val="00CC99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1800" b="1" dirty="0" smtClean="0">
              <a:solidFill>
                <a:srgbClr val="002060"/>
              </a:solidFill>
            </a:endParaRPr>
          </a:p>
          <a:p>
            <a:pPr algn="ctr"/>
            <a:r>
              <a:rPr lang="ru-RU" sz="2000" b="1" dirty="0" smtClean="0">
                <a:solidFill>
                  <a:srgbClr val="002060"/>
                </a:solidFill>
              </a:rPr>
              <a:t>30 </a:t>
            </a:r>
          </a:p>
          <a:p>
            <a:pPr algn="ctr"/>
            <a:r>
              <a:rPr lang="ru-RU" sz="1200" b="1" dirty="0">
                <a:solidFill>
                  <a:schemeClr val="accent2"/>
                </a:solidFill>
              </a:rPr>
              <a:t>субъектов РФ </a:t>
            </a:r>
          </a:p>
          <a:p>
            <a:pPr algn="ctr"/>
            <a:endParaRPr lang="ru-RU" sz="1800" b="1" dirty="0" smtClean="0">
              <a:solidFill>
                <a:srgbClr val="002060"/>
              </a:solidFill>
            </a:endParaRPr>
          </a:p>
        </p:txBody>
      </p:sp>
      <p:sp>
        <p:nvSpPr>
          <p:cNvPr id="100" name="Стрелка вправо 99"/>
          <p:cNvSpPr/>
          <p:nvPr/>
        </p:nvSpPr>
        <p:spPr>
          <a:xfrm rot="5400000">
            <a:off x="3825827" y="3010717"/>
            <a:ext cx="345058" cy="433680"/>
          </a:xfrm>
          <a:prstGeom prst="rightArrow">
            <a:avLst/>
          </a:prstGeom>
          <a:gradFill>
            <a:gsLst>
              <a:gs pos="59600">
                <a:schemeClr val="tx2">
                  <a:lumMod val="40000"/>
                  <a:lumOff val="60000"/>
                </a:schemeClr>
              </a:gs>
              <a:gs pos="0">
                <a:schemeClr val="bg1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01" name="Стрелка вправо 100"/>
          <p:cNvSpPr/>
          <p:nvPr/>
        </p:nvSpPr>
        <p:spPr>
          <a:xfrm rot="5400000">
            <a:off x="5400822" y="2941846"/>
            <a:ext cx="345058" cy="433680"/>
          </a:xfrm>
          <a:prstGeom prst="rightArrow">
            <a:avLst/>
          </a:prstGeom>
          <a:gradFill>
            <a:gsLst>
              <a:gs pos="59600">
                <a:schemeClr val="tx2">
                  <a:lumMod val="40000"/>
                  <a:lumOff val="60000"/>
                </a:schemeClr>
              </a:gs>
              <a:gs pos="0">
                <a:schemeClr val="bg1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02" name="Стрелка вправо 101"/>
          <p:cNvSpPr/>
          <p:nvPr/>
        </p:nvSpPr>
        <p:spPr>
          <a:xfrm rot="5400000">
            <a:off x="5419184" y="1920525"/>
            <a:ext cx="345058" cy="433680"/>
          </a:xfrm>
          <a:prstGeom prst="rightArrow">
            <a:avLst/>
          </a:prstGeom>
          <a:gradFill>
            <a:gsLst>
              <a:gs pos="59600">
                <a:schemeClr val="tx2">
                  <a:lumMod val="40000"/>
                  <a:lumOff val="60000"/>
                </a:schemeClr>
              </a:gs>
              <a:gs pos="0">
                <a:schemeClr val="bg1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03" name="Rectangle: Rounded Corners 28">
            <a:extLst>
              <a:ext uri="{FF2B5EF4-FFF2-40B4-BE49-F238E27FC236}">
                <a16:creationId xmlns:a16="http://schemas.microsoft.com/office/drawing/2014/main" id="{A64EAE46-AF01-4B6B-9362-45522046E039}"/>
              </a:ext>
            </a:extLst>
          </p:cNvPr>
          <p:cNvSpPr/>
          <p:nvPr/>
        </p:nvSpPr>
        <p:spPr>
          <a:xfrm>
            <a:off x="8442958" y="4865082"/>
            <a:ext cx="1334516" cy="643364"/>
          </a:xfrm>
          <a:prstGeom prst="roundRect">
            <a:avLst/>
          </a:prstGeom>
          <a:solidFill>
            <a:srgbClr val="00CC99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1800" b="1" dirty="0" smtClean="0">
              <a:solidFill>
                <a:srgbClr val="002060"/>
              </a:solidFill>
            </a:endParaRPr>
          </a:p>
          <a:p>
            <a:pPr algn="ctr"/>
            <a:r>
              <a:rPr lang="ru-RU" sz="2000" b="1" dirty="0" smtClean="0">
                <a:solidFill>
                  <a:srgbClr val="002060"/>
                </a:solidFill>
              </a:rPr>
              <a:t>82 </a:t>
            </a:r>
          </a:p>
          <a:p>
            <a:pPr algn="ctr"/>
            <a:r>
              <a:rPr lang="ru-RU" sz="1200" b="1" dirty="0" smtClean="0">
                <a:solidFill>
                  <a:schemeClr val="accent2"/>
                </a:solidFill>
              </a:rPr>
              <a:t>субъекта </a:t>
            </a:r>
            <a:r>
              <a:rPr lang="ru-RU" sz="1200" b="1" dirty="0">
                <a:solidFill>
                  <a:schemeClr val="accent2"/>
                </a:solidFill>
              </a:rPr>
              <a:t>РФ </a:t>
            </a:r>
          </a:p>
          <a:p>
            <a:pPr algn="ctr"/>
            <a:endParaRPr lang="ru-RU" sz="1800" b="1" dirty="0" smtClean="0">
              <a:solidFill>
                <a:srgbClr val="002060"/>
              </a:solidFill>
            </a:endParaRPr>
          </a:p>
        </p:txBody>
      </p:sp>
      <p:sp>
        <p:nvSpPr>
          <p:cNvPr id="104" name="Стрелка вправо 103"/>
          <p:cNvSpPr/>
          <p:nvPr/>
        </p:nvSpPr>
        <p:spPr>
          <a:xfrm>
            <a:off x="9884883" y="5025348"/>
            <a:ext cx="819262" cy="403895"/>
          </a:xfrm>
          <a:prstGeom prst="rightArrow">
            <a:avLst/>
          </a:prstGeom>
          <a:gradFill>
            <a:gsLst>
              <a:gs pos="59600">
                <a:schemeClr val="tx2">
                  <a:lumMod val="40000"/>
                  <a:lumOff val="60000"/>
                </a:schemeClr>
              </a:gs>
              <a:gs pos="0">
                <a:schemeClr val="bg1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05" name="Rectangle: Rounded Corners 28">
            <a:extLst>
              <a:ext uri="{FF2B5EF4-FFF2-40B4-BE49-F238E27FC236}">
                <a16:creationId xmlns:a16="http://schemas.microsoft.com/office/drawing/2014/main" id="{A64EAE46-AF01-4B6B-9362-45522046E039}"/>
              </a:ext>
            </a:extLst>
          </p:cNvPr>
          <p:cNvSpPr/>
          <p:nvPr/>
        </p:nvSpPr>
        <p:spPr>
          <a:xfrm>
            <a:off x="8468211" y="5687576"/>
            <a:ext cx="1334516" cy="725754"/>
          </a:xfrm>
          <a:prstGeom prst="roundRect">
            <a:avLst/>
          </a:prstGeom>
          <a:solidFill>
            <a:srgbClr val="00CC99">
              <a:alpha val="2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1800" b="1" dirty="0" smtClean="0">
              <a:solidFill>
                <a:srgbClr val="002060"/>
              </a:solidFill>
            </a:endParaRPr>
          </a:p>
          <a:p>
            <a:pPr algn="ctr"/>
            <a:r>
              <a:rPr lang="ru-RU" sz="2000" b="1" dirty="0" smtClean="0">
                <a:solidFill>
                  <a:srgbClr val="002060"/>
                </a:solidFill>
              </a:rPr>
              <a:t>89 </a:t>
            </a:r>
          </a:p>
          <a:p>
            <a:pPr algn="ctr"/>
            <a:r>
              <a:rPr lang="ru-RU" sz="1200" b="1" dirty="0" smtClean="0">
                <a:solidFill>
                  <a:schemeClr val="accent2"/>
                </a:solidFill>
              </a:rPr>
              <a:t>субъектов </a:t>
            </a:r>
            <a:r>
              <a:rPr lang="ru-RU" sz="1200" b="1" dirty="0">
                <a:solidFill>
                  <a:schemeClr val="accent2"/>
                </a:solidFill>
              </a:rPr>
              <a:t>РФ </a:t>
            </a:r>
          </a:p>
          <a:p>
            <a:pPr algn="ctr"/>
            <a:endParaRPr lang="ru-RU" sz="1800" b="1" dirty="0" smtClean="0">
              <a:solidFill>
                <a:srgbClr val="002060"/>
              </a:solidFill>
            </a:endParaRPr>
          </a:p>
        </p:txBody>
      </p:sp>
      <p:sp>
        <p:nvSpPr>
          <p:cNvPr id="106" name="Стрелка вправо 105"/>
          <p:cNvSpPr/>
          <p:nvPr/>
        </p:nvSpPr>
        <p:spPr>
          <a:xfrm>
            <a:off x="9867769" y="5806183"/>
            <a:ext cx="819262" cy="403895"/>
          </a:xfrm>
          <a:prstGeom prst="rightArrow">
            <a:avLst/>
          </a:prstGeom>
          <a:gradFill>
            <a:gsLst>
              <a:gs pos="59600">
                <a:schemeClr val="tx2">
                  <a:lumMod val="40000"/>
                  <a:lumOff val="60000"/>
                </a:schemeClr>
              </a:gs>
              <a:gs pos="0">
                <a:schemeClr val="bg1"/>
              </a:gs>
              <a:gs pos="100000">
                <a:srgbClr val="00CC99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4">
              <a:solidFill>
                <a:schemeClr val="tx2">
                  <a:lumMod val="20000"/>
                  <a:lumOff val="8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0653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892014"/>
              </p:ext>
            </p:extLst>
          </p:nvPr>
        </p:nvGraphicFramePr>
        <p:xfrm>
          <a:off x="0" y="842977"/>
          <a:ext cx="12203999" cy="5784952"/>
        </p:xfrm>
        <a:graphic>
          <a:graphicData uri="http://schemas.openxmlformats.org/drawingml/2006/table">
            <a:tbl>
              <a:tblPr>
                <a:tableStyleId>{D27102A9-8310-4765-A935-A1911B00CA55}</a:tableStyleId>
              </a:tblPr>
              <a:tblGrid>
                <a:gridCol w="3294035">
                  <a:extLst>
                    <a:ext uri="{9D8B030D-6E8A-4147-A177-3AD203B41FA5}">
                      <a16:colId xmlns:a16="http://schemas.microsoft.com/office/drawing/2014/main" val="2618343416"/>
                    </a:ext>
                  </a:extLst>
                </a:gridCol>
                <a:gridCol w="2140019">
                  <a:extLst>
                    <a:ext uri="{9D8B030D-6E8A-4147-A177-3AD203B41FA5}">
                      <a16:colId xmlns:a16="http://schemas.microsoft.com/office/drawing/2014/main" val="1106453945"/>
                    </a:ext>
                  </a:extLst>
                </a:gridCol>
                <a:gridCol w="1327196">
                  <a:extLst>
                    <a:ext uri="{9D8B030D-6E8A-4147-A177-3AD203B41FA5}">
                      <a16:colId xmlns:a16="http://schemas.microsoft.com/office/drawing/2014/main" val="3717959337"/>
                    </a:ext>
                  </a:extLst>
                </a:gridCol>
                <a:gridCol w="1327196">
                  <a:extLst>
                    <a:ext uri="{9D8B030D-6E8A-4147-A177-3AD203B41FA5}">
                      <a16:colId xmlns:a16="http://schemas.microsoft.com/office/drawing/2014/main" val="1315287821"/>
                    </a:ext>
                  </a:extLst>
                </a:gridCol>
                <a:gridCol w="1461161">
                  <a:extLst>
                    <a:ext uri="{9D8B030D-6E8A-4147-A177-3AD203B41FA5}">
                      <a16:colId xmlns:a16="http://schemas.microsoft.com/office/drawing/2014/main" val="845533034"/>
                    </a:ext>
                  </a:extLst>
                </a:gridCol>
                <a:gridCol w="1327196">
                  <a:extLst>
                    <a:ext uri="{9D8B030D-6E8A-4147-A177-3AD203B41FA5}">
                      <a16:colId xmlns:a16="http://schemas.microsoft.com/office/drawing/2014/main" val="3676077523"/>
                    </a:ext>
                  </a:extLst>
                </a:gridCol>
                <a:gridCol w="1327196">
                  <a:extLst>
                    <a:ext uri="{9D8B030D-6E8A-4147-A177-3AD203B41FA5}">
                      <a16:colId xmlns:a16="http://schemas.microsoft.com/office/drawing/2014/main" val="215960212"/>
                    </a:ext>
                  </a:extLst>
                </a:gridCol>
              </a:tblGrid>
              <a:tr h="354778">
                <a:tc rowSpan="3">
                  <a:txBody>
                    <a:bodyPr/>
                    <a:lstStyle/>
                    <a:p>
                      <a:pPr marL="72000" algn="ctr" fontAlgn="ctr"/>
                      <a:r>
                        <a:rPr lang="ru-RU" sz="12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Субъект</a:t>
                      </a:r>
                      <a:r>
                        <a:rPr lang="ru-RU" sz="1200" b="1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РФ</a:t>
                      </a:r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5391" marR="5391" marT="5391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E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ля ЗУ </a:t>
                      </a:r>
                    </a:p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ез границ</a:t>
                      </a:r>
                      <a:endParaRPr lang="ru-RU" sz="1200" b="1" i="0" u="none" strike="noStrike" kern="1200" dirty="0" smtClean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72000" algn="ctr" fontAlgn="ctr"/>
                      <a:endParaRPr lang="ru-RU" sz="1200" b="0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5391" marR="5391" marT="5391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2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2000" b="1" i="0" u="none" strike="noStrike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91" marR="5391" marT="5391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2000" b="1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3</a:t>
                      </a:r>
                      <a:endParaRPr lang="ru-RU" sz="2000" b="1" i="0" u="none" strike="noStrike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91" marR="5391" marT="5391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2000" b="1" i="0" u="none" strike="noStrike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91" marR="5391" marT="5391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6930874"/>
                  </a:ext>
                </a:extLst>
              </a:tr>
              <a:tr h="705269">
                <a:tc vMerge="1">
                  <a:txBody>
                    <a:bodyPr/>
                    <a:lstStyle/>
                    <a:p>
                      <a:pPr algn="l" fontAlgn="ctr"/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4043" marR="4043" marT="4043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72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личество ОН, </a:t>
                      </a:r>
                    </a:p>
                    <a:p>
                      <a:pPr marL="72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лан</a:t>
                      </a:r>
                    </a:p>
                    <a:p>
                      <a:pPr marL="72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1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91" marR="5391" marT="5391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72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7C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 использованием </a:t>
                      </a:r>
                    </a:p>
                    <a:p>
                      <a:pPr marL="72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федерального бюджета</a:t>
                      </a:r>
                    </a:p>
                  </a:txBody>
                  <a:tcPr marL="5391" marR="5391" marT="5391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72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1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91" marR="5391" marT="5391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457200" marR="0" lvl="1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7C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Без использования </a:t>
                      </a:r>
                    </a:p>
                    <a:p>
                      <a:pPr marL="457200" marR="0" lvl="1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федерального бюджета</a:t>
                      </a:r>
                    </a:p>
                    <a:p>
                      <a:pPr lvl="1" algn="ctr" fontAlgn="b"/>
                      <a:endParaRPr kumimoji="0" lang="ru-RU" sz="1000" b="1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rgbClr val="007C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91" marR="5391" marT="5391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3279313"/>
                  </a:ext>
                </a:extLst>
              </a:tr>
              <a:tr h="62954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7200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u="none" strike="noStrike" kern="1200" dirty="0" smtClean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91" marR="5391" marT="5391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ФБ+РБ,</a:t>
                      </a:r>
                    </a:p>
                    <a:p>
                      <a:pPr marL="7200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ыс. руб.</a:t>
                      </a:r>
                    </a:p>
                  </a:txBody>
                  <a:tcPr marL="5391" marR="5391" marT="5391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Сумма контрактов,</a:t>
                      </a:r>
                    </a:p>
                    <a:p>
                      <a:pPr marL="72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ыс. руб.</a:t>
                      </a:r>
                      <a:endParaRPr lang="ru-RU" sz="1200" b="1" i="0" u="none" strike="noStrike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5391" marR="5391" marT="5391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Б,</a:t>
                      </a:r>
                    </a:p>
                    <a:p>
                      <a:pPr marL="7200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ыс. руб.</a:t>
                      </a:r>
                      <a:endParaRPr lang="ru-RU" sz="1800" b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91" marR="5391" marT="5391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2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Segoe UI" panose="020B0502040204020203" pitchFamily="34" charset="0"/>
                        </a:rPr>
                        <a:t>Сумма контрактов,</a:t>
                      </a:r>
                    </a:p>
                    <a:p>
                      <a:pPr marL="72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ыс. руб.</a:t>
                      </a:r>
                      <a:endParaRPr lang="ru-RU" sz="1200" b="1" i="0" u="none" strike="noStrike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5391" marR="5391" marT="5391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8530441"/>
                  </a:ext>
                </a:extLst>
              </a:tr>
              <a:tr h="4050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Российская Федерация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9</a:t>
                      </a:r>
                      <a:r>
                        <a:rPr lang="ru-RU" sz="13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931 512 </a:t>
                      </a:r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(32,2%)</a:t>
                      </a:r>
                      <a:endParaRPr lang="ru-RU" sz="13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242 333</a:t>
                      </a:r>
                      <a:endParaRPr lang="ru-RU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58 308</a:t>
                      </a:r>
                      <a:endParaRPr lang="ru-RU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ru-RU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39 796 (82%)</a:t>
                      </a:r>
                      <a:endParaRPr lang="ru-RU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32 526</a:t>
                      </a:r>
                      <a:endParaRPr lang="ru-RU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ru-RU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5 687 (40%)</a:t>
                      </a:r>
                      <a:endParaRPr lang="ru-RU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011254"/>
                  </a:ext>
                </a:extLst>
              </a:tr>
              <a:tr h="2268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Республика Алтай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45 799 (23,7%)</a:t>
                      </a:r>
                      <a:endParaRPr lang="ru-RU" sz="1300" b="1" i="0" u="none" strike="noStrike" dirty="0" smtClean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67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00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0 (100%)</a:t>
                      </a:r>
                      <a:endParaRPr lang="ru-RU" sz="1300" b="1" i="0" u="none" strike="noStrike" kern="1200" baseline="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769395"/>
                  </a:ext>
                </a:extLst>
              </a:tr>
              <a:tr h="2268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Республика Бурятия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20</a:t>
                      </a:r>
                      <a:r>
                        <a:rPr lang="ru-RU" sz="1300" b="1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623 </a:t>
                      </a:r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(26,9%)</a:t>
                      </a:r>
                      <a:endParaRPr lang="ru-RU" sz="1300" b="1" i="0" u="none" strike="noStrike" dirty="0" smtClean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 490</a:t>
                      </a:r>
                      <a:endParaRPr lang="ru-RU" sz="1300" b="0" i="0" u="none" strike="noStrike" kern="1200" dirty="0" smtClean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588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588 </a:t>
                      </a: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100%)</a:t>
                      </a:r>
                      <a:endParaRPr lang="ru-RU" sz="1300" b="1" i="0" u="none" strike="noStrike" kern="1200" dirty="0" smtClean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0 616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0 616</a:t>
                      </a:r>
                      <a:r>
                        <a:rPr lang="ru-RU" sz="1300" b="1" i="0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300" b="1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00%)</a:t>
                      </a:r>
                      <a:endParaRPr lang="ru-RU" sz="1300" b="1" i="0" u="none" strike="noStrike" dirty="0" smtClean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4870573"/>
                  </a:ext>
                </a:extLst>
              </a:tr>
              <a:tr h="2268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Республика Хакасия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09</a:t>
                      </a:r>
                      <a:r>
                        <a:rPr lang="ru-RU" sz="1300" b="1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414 </a:t>
                      </a:r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(34,4%)</a:t>
                      </a:r>
                      <a:endParaRPr lang="ru-RU" sz="1300" b="1" i="0" u="none" strike="noStrike" dirty="0" smtClean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42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650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0 (92 %)</a:t>
                      </a:r>
                      <a:endParaRPr lang="ru-RU" sz="1300" b="1" i="0" u="none" strike="noStrike" kern="1200" baseline="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97305"/>
                  </a:ext>
                </a:extLst>
              </a:tr>
              <a:tr h="2268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Алтайский край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59</a:t>
                      </a:r>
                      <a:r>
                        <a:rPr lang="ru-RU" sz="1300" b="1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927 </a:t>
                      </a:r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(14,1%)</a:t>
                      </a:r>
                      <a:endParaRPr lang="ru-RU" sz="1300" b="1" i="0" u="none" strike="noStrike" dirty="0" smtClean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3 847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noProof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6 616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 804 (35%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8392981"/>
                  </a:ext>
                </a:extLst>
              </a:tr>
              <a:tr h="2268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Красноярский край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96</a:t>
                      </a:r>
                      <a:r>
                        <a:rPr lang="ru-RU" sz="1300" b="1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427 </a:t>
                      </a:r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(41,4%)</a:t>
                      </a:r>
                      <a:endParaRPr lang="ru-RU" sz="1300" b="1" i="0" u="none" strike="noStrike" dirty="0" smtClean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937</a:t>
                      </a:r>
                      <a:endParaRPr lang="ru-RU" sz="1300" b="0" i="0" u="none" strike="noStrike" kern="1200" dirty="0" smtClean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 831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 070 (62%)</a:t>
                      </a:r>
                      <a:endParaRPr lang="ru-RU" sz="1300" b="1" i="0" u="none" strike="noStrike" kern="1200" dirty="0" smtClean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ru-RU" sz="1300" b="1" i="0" u="none" strike="noStrike" kern="1200" baseline="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5627369"/>
                  </a:ext>
                </a:extLst>
              </a:tr>
              <a:tr h="2268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Хабаровский край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49 171 </a:t>
                      </a:r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(37,6%)</a:t>
                      </a:r>
                      <a:endParaRPr lang="ru-RU" sz="1300" b="1" i="0" u="none" strike="noStrike" dirty="0" smtClean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3 554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ru-RU" sz="13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ru-RU" sz="13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4 264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728 (41%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3353353"/>
                  </a:ext>
                </a:extLst>
              </a:tr>
              <a:tr h="2268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Воронежская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область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469 333 (39,3%)</a:t>
                      </a:r>
                      <a:endParaRPr kumimoji="0" lang="ru-RU" sz="13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7 019</a:t>
                      </a:r>
                      <a:endParaRPr lang="ru-RU" sz="1300" b="0" i="0" u="none" strike="noStrike" dirty="0" smtClean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6 857 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noProof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679 (46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 000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0 (6%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0821829"/>
                  </a:ext>
                </a:extLst>
              </a:tr>
              <a:tr h="2268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Иркутская область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76 596 (20,6%)</a:t>
                      </a:r>
                      <a:endParaRPr kumimoji="0" lang="ru-RU" sz="13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 509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 810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r>
                        <a:rPr lang="ru-RU" sz="1300" b="1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0%)</a:t>
                      </a:r>
                      <a:r>
                        <a:rPr lang="ru-RU" sz="13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4949605"/>
                  </a:ext>
                </a:extLst>
              </a:tr>
              <a:tr h="2877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Калужская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область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3 444 (25,4%)</a:t>
                      </a:r>
                      <a:endParaRPr kumimoji="0" lang="ru-RU" sz="13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1 827</a:t>
                      </a:r>
                      <a:endParaRPr lang="ru-RU" sz="1300" b="0" i="0" u="none" strike="noStrike" dirty="0" smtClean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9 130 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 </a:t>
                      </a:r>
                      <a:r>
                        <a:rPr kumimoji="0" lang="ru-RU" sz="13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30 (100</a:t>
                      </a:r>
                      <a:r>
                        <a:rPr kumimoji="0" lang="ru-RU" sz="13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4 453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520 (34%)</a:t>
                      </a:r>
                      <a:endParaRPr lang="ru-RU" sz="1300" b="1" i="0" u="none" strike="noStrike" kern="1200" baseline="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108681"/>
                  </a:ext>
                </a:extLst>
              </a:tr>
              <a:tr h="2268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Кемеровская область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513 408 (46,6%)</a:t>
                      </a:r>
                      <a:endParaRPr kumimoji="0" lang="ru-RU" sz="13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2 002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4 402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0 (2%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0930098"/>
                  </a:ext>
                </a:extLst>
              </a:tr>
              <a:tr h="2268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Московская область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942 967 (21,6%)</a:t>
                      </a:r>
                      <a:endParaRPr kumimoji="0" lang="ru-RU" sz="13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2 038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6 445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30 (2%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9553509"/>
                  </a:ext>
                </a:extLst>
              </a:tr>
              <a:tr h="2268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Новосибирская область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69 568 (27,4%)</a:t>
                      </a:r>
                      <a:endParaRPr kumimoji="0" lang="ru-RU" sz="13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8 575</a:t>
                      </a:r>
                      <a:endParaRPr lang="ru-RU" sz="1300" b="0" i="0" u="none" strike="noStrike" dirty="0" smtClean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2 000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 800 (45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4 260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3 (7%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8893482"/>
                  </a:ext>
                </a:extLst>
              </a:tr>
              <a:tr h="2268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Омская область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92 316 (47,2%)</a:t>
                      </a:r>
                      <a:endParaRPr kumimoji="0" lang="ru-RU" sz="13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1 667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4 000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476 (11%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8047064"/>
                  </a:ext>
                </a:extLst>
              </a:tr>
              <a:tr h="2268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Томская область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7</a:t>
                      </a:r>
                      <a:r>
                        <a:rPr lang="ru-RU" sz="1300" b="1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15 </a:t>
                      </a:r>
                      <a:r>
                        <a:rPr lang="ru-RU" sz="13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39,9%)</a:t>
                      </a:r>
                      <a:endParaRPr lang="ru-RU" sz="1300" b="1" i="0" u="none" strike="noStrike" kern="1200" dirty="0" smtClean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36 972</a:t>
                      </a:r>
                      <a:endParaRPr lang="ru-RU" sz="1300" b="0" i="0" u="none" strike="noStrike" dirty="0" smtClean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30 360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7 314 (90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ru-RU" sz="1300" b="1" i="0" u="none" strike="noStrike" kern="1200" baseline="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7473324"/>
                  </a:ext>
                </a:extLst>
              </a:tr>
              <a:tr h="2268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Тюменская область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29</a:t>
                      </a:r>
                      <a:r>
                        <a:rPr lang="ru-RU" sz="1300" b="1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551</a:t>
                      </a:r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(21,1%)</a:t>
                      </a:r>
                      <a:endParaRPr lang="ru-RU" sz="1300" b="1" i="0" u="none" strike="noStrike" dirty="0" smtClean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1 148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5 377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 682 (22%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5603814"/>
                  </a:ext>
                </a:extLst>
              </a:tr>
              <a:tr h="2268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Санкт-Петербург</a:t>
                      </a:r>
                      <a:endParaRPr lang="ru-RU" sz="12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2</a:t>
                      </a:r>
                      <a:r>
                        <a:rPr lang="ru-RU" sz="1300" b="1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452 </a:t>
                      </a:r>
                      <a:r>
                        <a:rPr lang="ru-RU" sz="13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(8,3%)</a:t>
                      </a:r>
                      <a:endParaRPr lang="ru-RU" sz="1300" b="1" i="0" u="none" strike="noStrike" dirty="0" smtClean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1300" b="0" i="0" u="none" strike="noStrike" dirty="0" smtClean="0">
                        <a:solidFill>
                          <a:srgbClr val="002060"/>
                        </a:solidFill>
                        <a:effectLst/>
                        <a:latin typeface="+mn-lt"/>
                      </a:endParaRP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12700" marR="12700" marT="12700" marB="0" anchor="ctr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1" i="0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ru-RU" sz="1300" b="1" i="0" u="none" strike="noStrike" kern="1200" baseline="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6813388"/>
                  </a:ext>
                </a:extLst>
              </a:tr>
            </a:tbl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3949" y="6617113"/>
            <a:ext cx="3172748" cy="240886"/>
          </a:xfrm>
        </p:spPr>
        <p:txBody>
          <a:bodyPr/>
          <a:lstStyle/>
          <a:p>
            <a:fld id="{35ACA335-37F7-42C7-872A-92C3D7072F89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+mn-lt"/>
              </a:rPr>
              <a:t>Проведение комплексных кадастровых работ</a:t>
            </a:r>
            <a:endParaRPr lang="ru-RU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42943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9F09F66-1085-4855-8DC5-F9637EFDA1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Порядок проведения комплексных кадастровых работ</a:t>
            </a:r>
            <a:endParaRPr lang="ru-RU" dirty="0"/>
          </a:p>
        </p:txBody>
      </p:sp>
      <p:sp>
        <p:nvSpPr>
          <p:cNvPr id="29" name="Slide Number Placeholder 6">
            <a:extLst>
              <a:ext uri="{FF2B5EF4-FFF2-40B4-BE49-F238E27FC236}">
                <a16:creationId xmlns:a16="http://schemas.microsoft.com/office/drawing/2014/main" id="{CB049572-2660-4770-A1F2-E633312615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>
          <a:xfrm>
            <a:off x="9316705" y="6394418"/>
            <a:ext cx="2743200" cy="365125"/>
          </a:xfrm>
        </p:spPr>
        <p:txBody>
          <a:bodyPr/>
          <a:lstStyle/>
          <a:p>
            <a:pPr marL="0" marR="0" lvl="0" indent="0" algn="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ACA335-37F7-42C7-872A-92C3D7072F89}" type="slidenum">
              <a:rPr kumimoji="0" lang="ru-RU" sz="1467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656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467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1067685" y="2728982"/>
            <a:ext cx="2993368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sz="1800" dirty="0" smtClean="0">
                <a:solidFill>
                  <a:srgbClr val="007AFF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Важно завершить </a:t>
            </a:r>
          </a:p>
          <a:p>
            <a:pPr marL="180975" marR="0" lvl="0" indent="0" algn="ct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sz="1800" dirty="0" smtClean="0">
                <a:solidFill>
                  <a:srgbClr val="007AFF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ККР </a:t>
            </a:r>
            <a:r>
              <a:rPr lang="ru-RU" sz="1800" b="1" dirty="0" smtClean="0">
                <a:solidFill>
                  <a:srgbClr val="00CC99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в год </a:t>
            </a:r>
            <a:r>
              <a:rPr lang="ru-RU" sz="1800" dirty="0" smtClean="0">
                <a:solidFill>
                  <a:srgbClr val="007AFF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предоставления субсидии</a:t>
            </a:r>
            <a:endParaRPr lang="ru-RU" sz="1800" dirty="0">
              <a:solidFill>
                <a:srgbClr val="00CC99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1194032524"/>
              </p:ext>
            </p:extLst>
          </p:nvPr>
        </p:nvGraphicFramePr>
        <p:xfrm>
          <a:off x="-472380" y="1314963"/>
          <a:ext cx="6133464" cy="39488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5559759" y="1487256"/>
            <a:ext cx="6471768" cy="59400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marR="0" lvl="0" indent="0" algn="l" defTabSz="465659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 smtClean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Наличие </a:t>
            </a: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сведений в ЕГРН </a:t>
            </a:r>
            <a:r>
              <a:rPr lang="ru-RU" sz="1800" b="1" dirty="0" smtClean="0">
                <a:solidFill>
                  <a:srgbClr val="00CC99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о границах </a:t>
            </a: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территориальных зон, населенных пунктов, муниципальных образований  </a:t>
            </a:r>
          </a:p>
          <a:p>
            <a:pPr marL="180975">
              <a:spcAft>
                <a:spcPts val="600"/>
              </a:spcAft>
              <a:defRPr/>
            </a:pPr>
            <a:r>
              <a:rPr lang="ru-RU" sz="1600" dirty="0" smtClean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Переход на </a:t>
            </a:r>
            <a:r>
              <a:rPr lang="ru-RU" sz="1800" b="1" dirty="0" smtClean="0">
                <a:solidFill>
                  <a:srgbClr val="00CC99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централизацию закупок </a:t>
            </a:r>
            <a:r>
              <a:rPr lang="ru-RU" sz="1600" dirty="0" smtClean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– </a:t>
            </a: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заказчиком которых будет являться ОИВ субъекта </a:t>
            </a:r>
            <a:r>
              <a:rPr lang="ru-RU" sz="1600" dirty="0" smtClean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РФ</a:t>
            </a:r>
          </a:p>
          <a:p>
            <a:pPr marL="180975" lvl="0">
              <a:spcAft>
                <a:spcPts val="600"/>
              </a:spcAft>
              <a:defRPr/>
            </a:pPr>
            <a:r>
              <a:rPr lang="ru-RU" sz="1800" b="1" dirty="0" smtClean="0">
                <a:solidFill>
                  <a:srgbClr val="00CC99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Заключение </a:t>
            </a:r>
            <a:r>
              <a:rPr lang="ru-RU" sz="1800" b="1" dirty="0">
                <a:solidFill>
                  <a:srgbClr val="00CC99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контрактов </a:t>
            </a: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не позднее установленных </a:t>
            </a:r>
            <a:r>
              <a:rPr lang="ru-RU" sz="1600" dirty="0" smtClean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сроков</a:t>
            </a:r>
          </a:p>
          <a:p>
            <a:pPr marL="180975">
              <a:spcAft>
                <a:spcPts val="600"/>
              </a:spcAft>
              <a:defRPr/>
            </a:pPr>
            <a:r>
              <a:rPr lang="ru-RU" sz="1800" b="1" dirty="0">
                <a:solidFill>
                  <a:srgbClr val="00CC99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Завершение</a:t>
            </a:r>
            <a:r>
              <a:rPr lang="ru-RU" sz="2000" b="1" dirty="0">
                <a:solidFill>
                  <a:srgbClr val="00CC99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контрактов </a:t>
            </a:r>
            <a:r>
              <a:rPr lang="ru-RU" sz="1800" b="1" dirty="0" smtClean="0">
                <a:solidFill>
                  <a:srgbClr val="00CC99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не позднее 16 ноября </a:t>
            </a:r>
            <a:r>
              <a:rPr lang="ru-RU" sz="1600" dirty="0" smtClean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Применение </a:t>
            </a:r>
            <a:r>
              <a:rPr lang="ru-RU" sz="1800" b="1" dirty="0" smtClean="0">
                <a:solidFill>
                  <a:srgbClr val="00CC99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БПЛА</a:t>
            </a:r>
            <a:r>
              <a:rPr lang="ru-RU" sz="2000" b="1" dirty="0" smtClean="0">
                <a:solidFill>
                  <a:srgbClr val="00CC99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при выполнении </a:t>
            </a:r>
            <a:r>
              <a:rPr lang="ru-RU" sz="1600" dirty="0" smtClean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ККР</a:t>
            </a:r>
          </a:p>
          <a:p>
            <a:pPr marL="180975">
              <a:spcAft>
                <a:spcPts val="600"/>
              </a:spcAft>
              <a:defRPr/>
            </a:pP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КПТР не более </a:t>
            </a:r>
            <a:r>
              <a:rPr lang="ru-RU" sz="1800" b="1" dirty="0">
                <a:solidFill>
                  <a:srgbClr val="00CC99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1000</a:t>
            </a:r>
            <a:r>
              <a:rPr lang="ru-RU" sz="2000" b="1" dirty="0">
                <a:solidFill>
                  <a:srgbClr val="00CC99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объектов</a:t>
            </a:r>
          </a:p>
          <a:p>
            <a:pPr marL="180975">
              <a:spcAft>
                <a:spcPts val="600"/>
              </a:spcAft>
              <a:defRPr/>
            </a:pPr>
            <a:r>
              <a:rPr lang="ru-RU" sz="1800" b="1" dirty="0">
                <a:solidFill>
                  <a:srgbClr val="00CC99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Предварительная </a:t>
            </a:r>
            <a:r>
              <a:rPr lang="ru-RU" sz="1800" b="1" dirty="0" smtClean="0">
                <a:solidFill>
                  <a:srgbClr val="00CC99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проверка </a:t>
            </a:r>
            <a:r>
              <a:rPr lang="ru-RU" sz="1600" dirty="0" smtClean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КПТР</a:t>
            </a:r>
          </a:p>
          <a:p>
            <a:pPr marL="180975">
              <a:spcAft>
                <a:spcPts val="600"/>
              </a:spcAft>
              <a:defRPr/>
            </a:pP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Доведение до исполнителей </a:t>
            </a:r>
            <a:r>
              <a:rPr lang="ru-RU" sz="1800" b="1" dirty="0">
                <a:solidFill>
                  <a:srgbClr val="00CC99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порядка направления извещений</a:t>
            </a:r>
          </a:p>
          <a:p>
            <a:pPr marL="180975">
              <a:spcAft>
                <a:spcPts val="600"/>
              </a:spcAft>
              <a:defRPr/>
            </a:pPr>
            <a:r>
              <a:rPr lang="ru-RU" sz="1800" b="1" dirty="0">
                <a:solidFill>
                  <a:srgbClr val="00CC99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Информирование СРО </a:t>
            </a: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кадастровых инженеров </a:t>
            </a:r>
            <a:r>
              <a:rPr lang="ru-RU" sz="1600" dirty="0" smtClean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/>
            </a:r>
            <a:br>
              <a:rPr lang="ru-RU" sz="1600" dirty="0" smtClean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600" dirty="0" smtClean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о </a:t>
            </a: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выполнении их членами </a:t>
            </a:r>
            <a:r>
              <a:rPr lang="ru-RU" sz="1600" dirty="0" smtClean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ККР</a:t>
            </a:r>
          </a:p>
          <a:p>
            <a:pPr marL="180975">
              <a:spcAft>
                <a:spcPts val="600"/>
              </a:spcAft>
              <a:defRPr/>
            </a:pP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Направление заявок на предоставление субсидии </a:t>
            </a:r>
            <a:r>
              <a:rPr lang="ru-RU" sz="1600" dirty="0" smtClean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/>
            </a:r>
            <a:br>
              <a:rPr lang="ru-RU" sz="1600" dirty="0" smtClean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800" b="1" dirty="0" smtClean="0">
                <a:solidFill>
                  <a:srgbClr val="00CC99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не </a:t>
            </a:r>
            <a:r>
              <a:rPr lang="ru-RU" sz="1800" b="1" dirty="0">
                <a:solidFill>
                  <a:srgbClr val="00CC99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позднее 1 апреля </a:t>
            </a:r>
          </a:p>
          <a:p>
            <a:pPr marL="180975">
              <a:spcAft>
                <a:spcPts val="600"/>
              </a:spcAft>
              <a:defRPr/>
            </a:pPr>
            <a:endParaRPr lang="ru-RU" sz="1600" dirty="0">
              <a:solidFill>
                <a:srgbClr val="002060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80975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ru-RU" sz="1600" dirty="0">
              <a:solidFill>
                <a:srgbClr val="002060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80975" marR="0" lvl="0" indent="0" algn="l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ru-RU" sz="2000" b="1" dirty="0">
              <a:solidFill>
                <a:srgbClr val="00CC99"/>
              </a:solidFill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31364F3C-E64E-5BE9-6BA9-941121EEFA73}"/>
              </a:ext>
            </a:extLst>
          </p:cNvPr>
          <p:cNvSpPr/>
          <p:nvPr/>
        </p:nvSpPr>
        <p:spPr>
          <a:xfrm>
            <a:off x="6718983" y="924979"/>
            <a:ext cx="442638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400" b="1" dirty="0" smtClean="0">
                <a:solidFill>
                  <a:srgbClr val="FF7900"/>
                </a:solidFill>
                <a:latin typeface="Arial Black" panose="020B0A04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ФАКТОРЫ УСПЕХА</a:t>
            </a: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39F09F66-1085-4855-8DC5-F9637EFDA1FB}"/>
              </a:ext>
            </a:extLst>
          </p:cNvPr>
          <p:cNvSpPr txBox="1">
            <a:spLocks/>
          </p:cNvSpPr>
          <p:nvPr/>
        </p:nvSpPr>
        <p:spPr>
          <a:xfrm>
            <a:off x="2171162" y="688786"/>
            <a:ext cx="583153" cy="821263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>
                <a:tab pos="607219" algn="l"/>
              </a:tabLst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ru-RU" sz="40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1</a:t>
            </a: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39F09F66-1085-4855-8DC5-F9637EFDA1FB}"/>
              </a:ext>
            </a:extLst>
          </p:cNvPr>
          <p:cNvSpPr txBox="1">
            <a:spLocks/>
          </p:cNvSpPr>
          <p:nvPr/>
        </p:nvSpPr>
        <p:spPr>
          <a:xfrm>
            <a:off x="4020477" y="1606117"/>
            <a:ext cx="692200" cy="723845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>
                <a:tab pos="607219" algn="l"/>
              </a:tabLst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ru-RU" sz="40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2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39F09F66-1085-4855-8DC5-F9637EFDA1FB}"/>
              </a:ext>
            </a:extLst>
          </p:cNvPr>
          <p:cNvSpPr txBox="1">
            <a:spLocks/>
          </p:cNvSpPr>
          <p:nvPr/>
        </p:nvSpPr>
        <p:spPr>
          <a:xfrm>
            <a:off x="4647662" y="2699295"/>
            <a:ext cx="662892" cy="624198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>
                <a:tab pos="607219" algn="l"/>
              </a:tabLst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ru-RU" sz="40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3</a:t>
            </a: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39F09F66-1085-4855-8DC5-F9637EFDA1FB}"/>
              </a:ext>
            </a:extLst>
          </p:cNvPr>
          <p:cNvSpPr txBox="1">
            <a:spLocks/>
          </p:cNvSpPr>
          <p:nvPr/>
        </p:nvSpPr>
        <p:spPr>
          <a:xfrm>
            <a:off x="4641801" y="3968319"/>
            <a:ext cx="662892" cy="624198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>
                <a:tab pos="607219" algn="l"/>
              </a:tabLst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ru-RU" sz="40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4</a:t>
            </a:r>
          </a:p>
        </p:txBody>
      </p:sp>
      <p:sp>
        <p:nvSpPr>
          <p:cNvPr id="16" name="Title 2">
            <a:extLst>
              <a:ext uri="{FF2B5EF4-FFF2-40B4-BE49-F238E27FC236}">
                <a16:creationId xmlns:a16="http://schemas.microsoft.com/office/drawing/2014/main" id="{39F09F66-1085-4855-8DC5-F9637EFDA1FB}"/>
              </a:ext>
            </a:extLst>
          </p:cNvPr>
          <p:cNvSpPr txBox="1">
            <a:spLocks/>
          </p:cNvSpPr>
          <p:nvPr/>
        </p:nvSpPr>
        <p:spPr>
          <a:xfrm>
            <a:off x="-252584" y="3892117"/>
            <a:ext cx="700991" cy="653505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>
                <a:tab pos="607219" algn="l"/>
              </a:tabLst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ru-RU" sz="40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7</a:t>
            </a:r>
          </a:p>
        </p:txBody>
      </p:sp>
      <p:sp>
        <p:nvSpPr>
          <p:cNvPr id="17" name="Title 2">
            <a:extLst>
              <a:ext uri="{FF2B5EF4-FFF2-40B4-BE49-F238E27FC236}">
                <a16:creationId xmlns:a16="http://schemas.microsoft.com/office/drawing/2014/main" id="{39F09F66-1085-4855-8DC5-F9637EFDA1FB}"/>
              </a:ext>
            </a:extLst>
          </p:cNvPr>
          <p:cNvSpPr txBox="1">
            <a:spLocks/>
          </p:cNvSpPr>
          <p:nvPr/>
        </p:nvSpPr>
        <p:spPr>
          <a:xfrm>
            <a:off x="1438471" y="5293027"/>
            <a:ext cx="662892" cy="624198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>
                <a:tab pos="607219" algn="l"/>
              </a:tabLst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ru-RU" sz="40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6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39F09F66-1085-4855-8DC5-F9637EFDA1FB}"/>
              </a:ext>
            </a:extLst>
          </p:cNvPr>
          <p:cNvSpPr txBox="1">
            <a:spLocks/>
          </p:cNvSpPr>
          <p:nvPr/>
        </p:nvSpPr>
        <p:spPr>
          <a:xfrm>
            <a:off x="2836448" y="5275442"/>
            <a:ext cx="662892" cy="624198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>
                <a:tab pos="607219" algn="l"/>
              </a:tabLst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ru-RU" sz="40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5</a:t>
            </a:r>
          </a:p>
        </p:txBody>
      </p:sp>
      <p:sp>
        <p:nvSpPr>
          <p:cNvPr id="19" name="Title 2">
            <a:extLst>
              <a:ext uri="{FF2B5EF4-FFF2-40B4-BE49-F238E27FC236}">
                <a16:creationId xmlns:a16="http://schemas.microsoft.com/office/drawing/2014/main" id="{39F09F66-1085-4855-8DC5-F9637EFDA1FB}"/>
              </a:ext>
            </a:extLst>
          </p:cNvPr>
          <p:cNvSpPr txBox="1">
            <a:spLocks/>
          </p:cNvSpPr>
          <p:nvPr/>
        </p:nvSpPr>
        <p:spPr>
          <a:xfrm>
            <a:off x="-252583" y="2713949"/>
            <a:ext cx="662892" cy="624198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>
                <a:tab pos="607219" algn="l"/>
              </a:tabLst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ru-RU" sz="40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8</a:t>
            </a:r>
          </a:p>
        </p:txBody>
      </p:sp>
      <p:sp>
        <p:nvSpPr>
          <p:cNvPr id="20" name="Title 2">
            <a:extLst>
              <a:ext uri="{FF2B5EF4-FFF2-40B4-BE49-F238E27FC236}">
                <a16:creationId xmlns:a16="http://schemas.microsoft.com/office/drawing/2014/main" id="{39F09F66-1085-4855-8DC5-F9637EFDA1FB}"/>
              </a:ext>
            </a:extLst>
          </p:cNvPr>
          <p:cNvSpPr txBox="1">
            <a:spLocks/>
          </p:cNvSpPr>
          <p:nvPr/>
        </p:nvSpPr>
        <p:spPr>
          <a:xfrm>
            <a:off x="318918" y="1702834"/>
            <a:ext cx="662892" cy="624198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>
                <a:tab pos="607219" algn="l"/>
              </a:tabLst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ru-RU" sz="4000" dirty="0">
                <a:solidFill>
                  <a:schemeClr val="tx2">
                    <a:lumMod val="40000"/>
                    <a:lumOff val="60000"/>
                  </a:schemeClr>
                </a:solidFill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764157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9F09F66-1085-4855-8DC5-F9637EFDA1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Закупочные мероприятия на выполнение комплексных кадастровых работ</a:t>
            </a:r>
            <a:endParaRPr lang="ru-RU" dirty="0"/>
          </a:p>
        </p:txBody>
      </p:sp>
      <p:sp>
        <p:nvSpPr>
          <p:cNvPr id="29" name="Slide Number Placeholder 6">
            <a:extLst>
              <a:ext uri="{FF2B5EF4-FFF2-40B4-BE49-F238E27FC236}">
                <a16:creationId xmlns:a16="http://schemas.microsoft.com/office/drawing/2014/main" id="{CB049572-2660-4770-A1F2-E6333126153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>
          <a:xfrm>
            <a:off x="9316705" y="6394418"/>
            <a:ext cx="2743200" cy="365125"/>
          </a:xfrm>
        </p:spPr>
        <p:txBody>
          <a:bodyPr/>
          <a:lstStyle/>
          <a:p>
            <a:pPr marL="0" marR="0" lvl="0" indent="0" algn="r" defTabSz="4656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ACA335-37F7-42C7-872A-92C3D7072F89}" type="slidenum">
              <a:rPr kumimoji="0" lang="ru-RU" sz="1467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656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467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31364F3C-E64E-5BE9-6BA9-941121EEFA73}"/>
              </a:ext>
            </a:extLst>
          </p:cNvPr>
          <p:cNvSpPr/>
          <p:nvPr/>
        </p:nvSpPr>
        <p:spPr>
          <a:xfrm>
            <a:off x="722948" y="1079170"/>
            <a:ext cx="485194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400" b="1" dirty="0" smtClean="0">
                <a:solidFill>
                  <a:srgbClr val="FF7900"/>
                </a:solidFill>
                <a:latin typeface="Arial Black" panose="020B0A04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ХНИЧЕСКОЕ ЗАДАНИЕ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850514" y="2068506"/>
            <a:ext cx="4066183" cy="4585871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endParaRPr lang="ru-RU" sz="1600" dirty="0" smtClean="0">
              <a:solidFill>
                <a:srgbClr val="00206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2000" b="1" dirty="0" smtClean="0">
                <a:solidFill>
                  <a:srgbClr val="002060"/>
                </a:solidFill>
              </a:rPr>
              <a:t>Обязанности </a:t>
            </a:r>
            <a:r>
              <a:rPr lang="ru-RU" sz="2000" b="1" dirty="0" smtClean="0">
                <a:solidFill>
                  <a:srgbClr val="00CC99"/>
                </a:solidFill>
              </a:rPr>
              <a:t>исполнителя: 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002060"/>
                </a:solidFill>
              </a:rPr>
              <a:t>представить </a:t>
            </a:r>
            <a:r>
              <a:rPr lang="ru-RU" sz="1600" b="1" dirty="0" smtClean="0">
                <a:solidFill>
                  <a:srgbClr val="00CC99"/>
                </a:solidFill>
              </a:rPr>
              <a:t>заявления</a:t>
            </a:r>
            <a:r>
              <a:rPr lang="ru-RU" sz="1600" dirty="0" smtClean="0">
                <a:solidFill>
                  <a:srgbClr val="002060"/>
                </a:solidFill>
              </a:rPr>
              <a:t> о внесении сведений в ЕГРН </a:t>
            </a:r>
            <a:r>
              <a:rPr lang="ru-RU" sz="1600" b="1" dirty="0" smtClean="0">
                <a:solidFill>
                  <a:srgbClr val="00CC99"/>
                </a:solidFill>
              </a:rPr>
              <a:t>об адресе правообладателей и о ранее учтенных ОН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002060"/>
                </a:solidFill>
              </a:rPr>
              <a:t>направить </a:t>
            </a:r>
            <a:r>
              <a:rPr lang="ru-RU" sz="1600" b="1" dirty="0" smtClean="0">
                <a:solidFill>
                  <a:srgbClr val="00CC99"/>
                </a:solidFill>
              </a:rPr>
              <a:t>сведения</a:t>
            </a:r>
            <a:r>
              <a:rPr lang="ru-RU" sz="1600" dirty="0" smtClean="0">
                <a:solidFill>
                  <a:srgbClr val="002060"/>
                </a:solidFill>
              </a:rPr>
              <a:t> Заказчику </a:t>
            </a:r>
            <a:br>
              <a:rPr lang="ru-RU" sz="1600" dirty="0" smtClean="0">
                <a:solidFill>
                  <a:srgbClr val="002060"/>
                </a:solidFill>
              </a:rPr>
            </a:br>
            <a:r>
              <a:rPr lang="ru-RU" sz="1600" dirty="0" smtClean="0">
                <a:solidFill>
                  <a:srgbClr val="002060"/>
                </a:solidFill>
              </a:rPr>
              <a:t>и в </a:t>
            </a:r>
            <a:r>
              <a:rPr lang="ru-RU" sz="1600" dirty="0" err="1">
                <a:solidFill>
                  <a:srgbClr val="002060"/>
                </a:solidFill>
              </a:rPr>
              <a:t>Г</a:t>
            </a:r>
            <a:r>
              <a:rPr lang="ru-RU" sz="1600" dirty="0" err="1" smtClean="0">
                <a:solidFill>
                  <a:srgbClr val="002060"/>
                </a:solidFill>
              </a:rPr>
              <a:t>осземнадзор</a:t>
            </a:r>
            <a:r>
              <a:rPr lang="ru-RU" sz="1600" dirty="0" smtClean="0">
                <a:solidFill>
                  <a:srgbClr val="002060"/>
                </a:solidFill>
              </a:rPr>
              <a:t> о выявлении </a:t>
            </a:r>
            <a:r>
              <a:rPr lang="ru-RU" sz="1600" b="1" dirty="0" err="1" smtClean="0">
                <a:solidFill>
                  <a:srgbClr val="00CC99"/>
                </a:solidFill>
              </a:rPr>
              <a:t>самозахвата</a:t>
            </a:r>
            <a:r>
              <a:rPr lang="ru-RU" sz="1600" b="1" dirty="0" smtClean="0">
                <a:solidFill>
                  <a:srgbClr val="00CC99"/>
                </a:solidFill>
              </a:rPr>
              <a:t> ЗУ и самовольной постройки</a:t>
            </a:r>
            <a:r>
              <a:rPr lang="ru-RU" sz="1600" dirty="0" smtClean="0">
                <a:solidFill>
                  <a:srgbClr val="002060"/>
                </a:solidFill>
              </a:rPr>
              <a:t>;</a:t>
            </a:r>
          </a:p>
          <a:p>
            <a:pPr marL="285750" indent="-285750">
              <a:buFontTx/>
              <a:buChar char="-"/>
            </a:pPr>
            <a:r>
              <a:rPr lang="ru-RU" sz="1600" b="1" dirty="0" smtClean="0">
                <a:solidFill>
                  <a:srgbClr val="00CC99"/>
                </a:solidFill>
              </a:rPr>
              <a:t>подготовить</a:t>
            </a:r>
            <a:r>
              <a:rPr lang="ru-RU" sz="1600" dirty="0" smtClean="0">
                <a:solidFill>
                  <a:srgbClr val="002060"/>
                </a:solidFill>
              </a:rPr>
              <a:t> КПТР и </a:t>
            </a:r>
            <a:r>
              <a:rPr lang="ru-RU" sz="1600" b="1" dirty="0" smtClean="0">
                <a:solidFill>
                  <a:srgbClr val="00CC99"/>
                </a:solidFill>
              </a:rPr>
              <a:t>проверить</a:t>
            </a:r>
            <a:r>
              <a:rPr lang="ru-RU" sz="1600" dirty="0" smtClean="0">
                <a:solidFill>
                  <a:srgbClr val="002060"/>
                </a:solidFill>
              </a:rPr>
              <a:t> </a:t>
            </a:r>
            <a:br>
              <a:rPr lang="ru-RU" sz="1600" dirty="0" smtClean="0">
                <a:solidFill>
                  <a:srgbClr val="002060"/>
                </a:solidFill>
              </a:rPr>
            </a:br>
            <a:r>
              <a:rPr lang="ru-RU" sz="1600" dirty="0" smtClean="0">
                <a:solidFill>
                  <a:srgbClr val="002060"/>
                </a:solidFill>
              </a:rPr>
              <a:t>с использованием сервиса </a:t>
            </a:r>
            <a:r>
              <a:rPr lang="ru-RU" sz="1600" b="1" dirty="0" smtClean="0">
                <a:solidFill>
                  <a:srgbClr val="00CC99"/>
                </a:solidFill>
              </a:rPr>
              <a:t>«Личный кабинет КИ»</a:t>
            </a:r>
            <a:endParaRPr lang="ru-RU" sz="1600" dirty="0" smtClean="0">
              <a:solidFill>
                <a:srgbClr val="002060"/>
              </a:solidFill>
            </a:endParaRPr>
          </a:p>
          <a:p>
            <a:endParaRPr lang="ru-RU" sz="1600" dirty="0" smtClean="0">
              <a:solidFill>
                <a:srgbClr val="002060"/>
              </a:solidFill>
            </a:endParaRPr>
          </a:p>
          <a:p>
            <a:pPr marL="228594" indent="-228594">
              <a:buFont typeface="Wingdings" panose="05000000000000000000" pitchFamily="2" charset="2"/>
              <a:buChar char="Ø"/>
            </a:pPr>
            <a:endParaRPr lang="ru-RU" sz="1600" dirty="0" smtClean="0">
              <a:solidFill>
                <a:srgbClr val="002060"/>
              </a:solidFill>
            </a:endParaRPr>
          </a:p>
          <a:p>
            <a:pPr marL="285744" indent="-285744">
              <a:buFontTx/>
              <a:buChar char="-"/>
            </a:pPr>
            <a:endParaRPr lang="ru-RU" sz="1600" dirty="0" smtClean="0">
              <a:solidFill>
                <a:srgbClr val="002060"/>
              </a:solidFill>
            </a:endParaRPr>
          </a:p>
          <a:p>
            <a:pPr marL="285744" indent="-285744">
              <a:buFontTx/>
              <a:buChar char="-"/>
            </a:pPr>
            <a:endParaRPr lang="ru-RU" sz="16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marL="285744" indent="-285744">
              <a:buFontTx/>
              <a:buChar char="-"/>
            </a:pPr>
            <a:endParaRPr lang="ru-RU" sz="160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31364F3C-E64E-5BE9-6BA9-941121EEFA73}"/>
              </a:ext>
            </a:extLst>
          </p:cNvPr>
          <p:cNvSpPr/>
          <p:nvPr/>
        </p:nvSpPr>
        <p:spPr>
          <a:xfrm>
            <a:off x="763484" y="1626066"/>
            <a:ext cx="33758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400" b="1" dirty="0" smtClean="0">
                <a:solidFill>
                  <a:srgbClr val="007AFF"/>
                </a:solidFill>
                <a:latin typeface="+mj-lt"/>
                <a:ea typeface="Times New Roman" panose="02020603050405020304" pitchFamily="18" charset="0"/>
                <a:cs typeface="Arial" panose="020B0604020202020204" pitchFamily="34" charset="0"/>
              </a:rPr>
              <a:t>Важные условия: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8492" y="2267981"/>
            <a:ext cx="3598606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Указание </a:t>
            </a:r>
            <a:r>
              <a:rPr lang="ru-RU" sz="1600" b="1" dirty="0">
                <a:solidFill>
                  <a:srgbClr val="00CC99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атериалов</a:t>
            </a:r>
            <a:r>
              <a:rPr lang="ru-RU" sz="1600" dirty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 которые возможно применять для выполнения работ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srgbClr val="002060"/>
                </a:solidFill>
              </a:rPr>
              <a:t>Результатом выполнения </a:t>
            </a:r>
            <a:r>
              <a:rPr lang="ru-RU" sz="1600" dirty="0">
                <a:solidFill>
                  <a:srgbClr val="002060"/>
                </a:solidFill>
              </a:rPr>
              <a:t>ККР является </a:t>
            </a:r>
            <a:r>
              <a:rPr lang="ru-RU" sz="1600" b="1" dirty="0">
                <a:solidFill>
                  <a:srgbClr val="00CC99"/>
                </a:solidFill>
              </a:rPr>
              <a:t>внесение сведений </a:t>
            </a:r>
            <a:endParaRPr lang="ru-RU" sz="1600" b="1" dirty="0" smtClean="0">
              <a:solidFill>
                <a:srgbClr val="00CC99"/>
              </a:solidFill>
            </a:endParaRPr>
          </a:p>
          <a:p>
            <a:pPr>
              <a:tabLst>
                <a:tab pos="266700" algn="l"/>
              </a:tabLst>
            </a:pPr>
            <a:r>
              <a:rPr lang="ru-RU" sz="1600" b="1" dirty="0" smtClean="0">
                <a:solidFill>
                  <a:srgbClr val="00CC99"/>
                </a:solidFill>
              </a:rPr>
              <a:t>	в </a:t>
            </a:r>
            <a:r>
              <a:rPr lang="ru-RU" sz="1600" b="1" dirty="0">
                <a:solidFill>
                  <a:srgbClr val="00CC99"/>
                </a:solidFill>
              </a:rPr>
              <a:t>ЕГРН</a:t>
            </a:r>
            <a:r>
              <a:rPr lang="ru-RU" sz="1600" dirty="0">
                <a:solidFill>
                  <a:srgbClr val="002060"/>
                </a:solidFill>
              </a:rPr>
              <a:t> об ОН, содержащихся </a:t>
            </a:r>
            <a:r>
              <a:rPr lang="ru-RU" sz="1600" dirty="0" smtClean="0">
                <a:solidFill>
                  <a:srgbClr val="002060"/>
                </a:solidFill>
              </a:rPr>
              <a:t>	в 	КПТР</a:t>
            </a:r>
            <a:endParaRPr lang="ru-RU" sz="1600" dirty="0">
              <a:solidFill>
                <a:srgbClr val="00206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кончательное количество объектов недвижимости в КПТР </a:t>
            </a:r>
            <a:r>
              <a:rPr lang="ru-RU" sz="1600" b="1" dirty="0">
                <a:solidFill>
                  <a:srgbClr val="00CC99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ожет отличаться от прогнозного количества </a:t>
            </a:r>
            <a:r>
              <a:rPr lang="ru-RU" sz="1600" dirty="0">
                <a:solidFill>
                  <a:srgbClr val="00206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бъектов, указанного в ТЗ, что не является основанием для изменения цены контракта и (или) других условий</a:t>
            </a:r>
          </a:p>
        </p:txBody>
      </p:sp>
      <p:sp>
        <p:nvSpPr>
          <p:cNvPr id="12" name="Freeform: Shape 6">
            <a:extLst>
              <a:ext uri="{FF2B5EF4-FFF2-40B4-BE49-F238E27FC236}">
                <a16:creationId xmlns:a16="http://schemas.microsoft.com/office/drawing/2014/main" id="{85220B04-FC09-4739-BE54-4E91CE970AD5}"/>
              </a:ext>
            </a:extLst>
          </p:cNvPr>
          <p:cNvSpPr/>
          <p:nvPr/>
        </p:nvSpPr>
        <p:spPr>
          <a:xfrm>
            <a:off x="707366" y="1604513"/>
            <a:ext cx="59550" cy="401268"/>
          </a:xfrm>
          <a:custGeom>
            <a:avLst/>
            <a:gdLst>
              <a:gd name="connsiteX0" fmla="*/ 9321 w 42749"/>
              <a:gd name="connsiteY0" fmla="*/ 153643 h 235607"/>
              <a:gd name="connsiteX1" fmla="*/ 0 w 42749"/>
              <a:gd name="connsiteY1" fmla="*/ 52393 h 235607"/>
              <a:gd name="connsiteX2" fmla="*/ 0 w 42749"/>
              <a:gd name="connsiteY2" fmla="*/ 51429 h 235607"/>
              <a:gd name="connsiteX3" fmla="*/ 0 w 42749"/>
              <a:gd name="connsiteY3" fmla="*/ 10929 h 235607"/>
              <a:gd name="connsiteX4" fmla="*/ 10929 w 42749"/>
              <a:gd name="connsiteY4" fmla="*/ 0 h 235607"/>
              <a:gd name="connsiteX5" fmla="*/ 31821 w 42749"/>
              <a:gd name="connsiteY5" fmla="*/ 0 h 235607"/>
              <a:gd name="connsiteX6" fmla="*/ 42750 w 42749"/>
              <a:gd name="connsiteY6" fmla="*/ 10929 h 235607"/>
              <a:gd name="connsiteX7" fmla="*/ 42750 w 42749"/>
              <a:gd name="connsiteY7" fmla="*/ 51429 h 235607"/>
              <a:gd name="connsiteX8" fmla="*/ 42750 w 42749"/>
              <a:gd name="connsiteY8" fmla="*/ 52393 h 235607"/>
              <a:gd name="connsiteX9" fmla="*/ 33750 w 42749"/>
              <a:gd name="connsiteY9" fmla="*/ 153643 h 235607"/>
              <a:gd name="connsiteX10" fmla="*/ 23143 w 42749"/>
              <a:gd name="connsiteY10" fmla="*/ 163607 h 235607"/>
              <a:gd name="connsiteX11" fmla="*/ 20571 w 42749"/>
              <a:gd name="connsiteY11" fmla="*/ 163607 h 235607"/>
              <a:gd name="connsiteX12" fmla="*/ 9321 w 42749"/>
              <a:gd name="connsiteY12" fmla="*/ 153643 h 235607"/>
              <a:gd name="connsiteX13" fmla="*/ 1607 w 42749"/>
              <a:gd name="connsiteY13" fmla="*/ 220821 h 235607"/>
              <a:gd name="connsiteX14" fmla="*/ 1607 w 42749"/>
              <a:gd name="connsiteY14" fmla="*/ 208607 h 235607"/>
              <a:gd name="connsiteX15" fmla="*/ 16393 w 42749"/>
              <a:gd name="connsiteY15" fmla="*/ 193821 h 235607"/>
              <a:gd name="connsiteX16" fmla="*/ 26036 w 42749"/>
              <a:gd name="connsiteY16" fmla="*/ 193821 h 235607"/>
              <a:gd name="connsiteX17" fmla="*/ 40821 w 42749"/>
              <a:gd name="connsiteY17" fmla="*/ 208607 h 235607"/>
              <a:gd name="connsiteX18" fmla="*/ 40821 w 42749"/>
              <a:gd name="connsiteY18" fmla="*/ 220821 h 235607"/>
              <a:gd name="connsiteX19" fmla="*/ 26036 w 42749"/>
              <a:gd name="connsiteY19" fmla="*/ 235607 h 235607"/>
              <a:gd name="connsiteX20" fmla="*/ 16393 w 42749"/>
              <a:gd name="connsiteY20" fmla="*/ 235607 h 235607"/>
              <a:gd name="connsiteX21" fmla="*/ 1607 w 42749"/>
              <a:gd name="connsiteY21" fmla="*/ 220821 h 235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2749" h="235607">
                <a:moveTo>
                  <a:pt x="9321" y="153643"/>
                </a:moveTo>
                <a:lnTo>
                  <a:pt x="0" y="52393"/>
                </a:lnTo>
                <a:cubicBezTo>
                  <a:pt x="0" y="52071"/>
                  <a:pt x="0" y="51750"/>
                  <a:pt x="0" y="51429"/>
                </a:cubicBezTo>
                <a:lnTo>
                  <a:pt x="0" y="10929"/>
                </a:lnTo>
                <a:cubicBezTo>
                  <a:pt x="0" y="4821"/>
                  <a:pt x="4821" y="0"/>
                  <a:pt x="10929" y="0"/>
                </a:cubicBezTo>
                <a:lnTo>
                  <a:pt x="31821" y="0"/>
                </a:lnTo>
                <a:cubicBezTo>
                  <a:pt x="37929" y="0"/>
                  <a:pt x="42750" y="4821"/>
                  <a:pt x="42750" y="10929"/>
                </a:cubicBezTo>
                <a:lnTo>
                  <a:pt x="42750" y="51429"/>
                </a:lnTo>
                <a:cubicBezTo>
                  <a:pt x="42750" y="51750"/>
                  <a:pt x="42750" y="52071"/>
                  <a:pt x="42750" y="52393"/>
                </a:cubicBezTo>
                <a:lnTo>
                  <a:pt x="33750" y="153643"/>
                </a:lnTo>
                <a:cubicBezTo>
                  <a:pt x="33107" y="159107"/>
                  <a:pt x="28607" y="163607"/>
                  <a:pt x="23143" y="163607"/>
                </a:cubicBezTo>
                <a:lnTo>
                  <a:pt x="20571" y="163607"/>
                </a:lnTo>
                <a:cubicBezTo>
                  <a:pt x="14464" y="163607"/>
                  <a:pt x="9643" y="159107"/>
                  <a:pt x="9321" y="153643"/>
                </a:cubicBezTo>
                <a:close/>
                <a:moveTo>
                  <a:pt x="1607" y="220821"/>
                </a:moveTo>
                <a:lnTo>
                  <a:pt x="1607" y="208607"/>
                </a:lnTo>
                <a:cubicBezTo>
                  <a:pt x="1607" y="200250"/>
                  <a:pt x="8357" y="193821"/>
                  <a:pt x="16393" y="193821"/>
                </a:cubicBezTo>
                <a:lnTo>
                  <a:pt x="26036" y="193821"/>
                </a:lnTo>
                <a:cubicBezTo>
                  <a:pt x="34393" y="193821"/>
                  <a:pt x="40821" y="200571"/>
                  <a:pt x="40821" y="208607"/>
                </a:cubicBezTo>
                <a:lnTo>
                  <a:pt x="40821" y="220821"/>
                </a:lnTo>
                <a:cubicBezTo>
                  <a:pt x="40821" y="229179"/>
                  <a:pt x="34071" y="235607"/>
                  <a:pt x="26036" y="235607"/>
                </a:cubicBezTo>
                <a:lnTo>
                  <a:pt x="16393" y="235607"/>
                </a:lnTo>
                <a:cubicBezTo>
                  <a:pt x="8357" y="235607"/>
                  <a:pt x="1607" y="229179"/>
                  <a:pt x="1607" y="220821"/>
                </a:cubicBezTo>
                <a:close/>
              </a:path>
            </a:pathLst>
          </a:custGeom>
          <a:solidFill>
            <a:schemeClr val="tx2"/>
          </a:solidFill>
          <a:ln w="3151" cap="flat">
            <a:noFill/>
            <a:prstDash val="solid"/>
            <a:miter/>
          </a:ln>
        </p:spPr>
        <p:txBody>
          <a:bodyPr lIns="91440" tIns="45720" rIns="91440" bIns="45720" rtlCol="0" anchor="ctr"/>
          <a:lstStyle/>
          <a:p>
            <a:endParaRPr lang="ru-RU" sz="1244"/>
          </a:p>
        </p:txBody>
      </p:sp>
      <p:sp>
        <p:nvSpPr>
          <p:cNvPr id="5" name="Прямоугольник 4"/>
          <p:cNvSpPr/>
          <p:nvPr/>
        </p:nvSpPr>
        <p:spPr>
          <a:xfrm>
            <a:off x="3795251" y="2314849"/>
            <a:ext cx="4003027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rgbClr val="002060"/>
                </a:solidFill>
              </a:rPr>
              <a:t>Обязанности </a:t>
            </a:r>
            <a:r>
              <a:rPr lang="ru-RU" sz="2000" b="1" dirty="0">
                <a:solidFill>
                  <a:srgbClr val="00CC99"/>
                </a:solidFill>
              </a:rPr>
              <a:t>заказчика:  </a:t>
            </a:r>
          </a:p>
          <a:p>
            <a:pPr marL="285750" indent="-285750">
              <a:buFontTx/>
              <a:buChar char="-"/>
            </a:pPr>
            <a:r>
              <a:rPr lang="ru-RU" sz="1600" dirty="0">
                <a:solidFill>
                  <a:srgbClr val="002060"/>
                </a:solidFill>
              </a:rPr>
              <a:t>оказывать </a:t>
            </a:r>
            <a:r>
              <a:rPr lang="ru-RU" sz="1600" b="1" dirty="0">
                <a:solidFill>
                  <a:srgbClr val="00CC99"/>
                </a:solidFill>
              </a:rPr>
              <a:t>содействие</a:t>
            </a:r>
            <a:r>
              <a:rPr lang="ru-RU" sz="1600" dirty="0">
                <a:solidFill>
                  <a:srgbClr val="002060"/>
                </a:solidFill>
              </a:rPr>
              <a:t> Исполнителю в </a:t>
            </a:r>
            <a:r>
              <a:rPr lang="ru-RU" sz="1600" b="1" dirty="0">
                <a:solidFill>
                  <a:srgbClr val="00CC99"/>
                </a:solidFill>
              </a:rPr>
              <a:t>получении необходимых материалов </a:t>
            </a:r>
            <a:r>
              <a:rPr lang="ru-RU" sz="1600" b="1" dirty="0" smtClean="0">
                <a:solidFill>
                  <a:srgbClr val="00CC99"/>
                </a:solidFill>
              </a:rPr>
              <a:t/>
            </a:r>
            <a:br>
              <a:rPr lang="ru-RU" sz="1600" b="1" dirty="0" smtClean="0">
                <a:solidFill>
                  <a:srgbClr val="00CC99"/>
                </a:solidFill>
              </a:rPr>
            </a:br>
            <a:r>
              <a:rPr lang="ru-RU" sz="1600" dirty="0" smtClean="0">
                <a:solidFill>
                  <a:srgbClr val="002060"/>
                </a:solidFill>
              </a:rPr>
              <a:t>(</a:t>
            </a:r>
            <a:r>
              <a:rPr lang="ru-RU" sz="1600" dirty="0">
                <a:solidFill>
                  <a:srgbClr val="002060"/>
                </a:solidFill>
              </a:rPr>
              <a:t>пр.: документы территориального планирования, генеральные планы, план застройки)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solidFill>
                  <a:srgbClr val="002060"/>
                </a:solidFill>
              </a:rPr>
              <a:t>представить </a:t>
            </a:r>
            <a:r>
              <a:rPr lang="ru-RU" sz="1600" b="1" dirty="0">
                <a:solidFill>
                  <a:srgbClr val="00CC99"/>
                </a:solidFill>
              </a:rPr>
              <a:t>заявления</a:t>
            </a:r>
            <a:r>
              <a:rPr lang="ru-RU" sz="1600" dirty="0">
                <a:solidFill>
                  <a:srgbClr val="002060"/>
                </a:solidFill>
              </a:rPr>
              <a:t> о внесении сведений в ЕГРН </a:t>
            </a:r>
            <a:r>
              <a:rPr lang="ru-RU" sz="1600" b="1" dirty="0">
                <a:solidFill>
                  <a:srgbClr val="00CC99"/>
                </a:solidFill>
              </a:rPr>
              <a:t>о</a:t>
            </a:r>
            <a:r>
              <a:rPr lang="ru-RU" sz="1600" dirty="0">
                <a:solidFill>
                  <a:srgbClr val="002060"/>
                </a:solidFill>
              </a:rPr>
              <a:t> </a:t>
            </a:r>
            <a:r>
              <a:rPr lang="ru-RU" sz="1600" b="1" dirty="0">
                <a:solidFill>
                  <a:srgbClr val="00CC99"/>
                </a:solidFill>
              </a:rPr>
              <a:t>ранее учтенных ОН</a:t>
            </a:r>
            <a:r>
              <a:rPr lang="ru-RU" sz="1600" dirty="0">
                <a:solidFill>
                  <a:srgbClr val="002060"/>
                </a:solidFill>
              </a:rPr>
              <a:t>, входящих в территорию ККР, при наличии соответствующих </a:t>
            </a:r>
            <a:r>
              <a:rPr lang="ru-RU" sz="1600" dirty="0" smtClean="0">
                <a:solidFill>
                  <a:srgbClr val="002060"/>
                </a:solidFill>
              </a:rPr>
              <a:t>документов</a:t>
            </a:r>
            <a:endParaRPr lang="ru-RU" sz="1600" dirty="0">
              <a:solidFill>
                <a:srgbClr val="002060"/>
              </a:solidFill>
            </a:endParaRPr>
          </a:p>
        </p:txBody>
      </p:sp>
      <p:pic>
        <p:nvPicPr>
          <p:cNvPr id="15" name="Graphic 335">
            <a:extLst>
              <a:ext uri="{FF2B5EF4-FFF2-40B4-BE49-F238E27FC236}">
                <a16:creationId xmlns:a16="http://schemas.microsoft.com/office/drawing/2014/main" id="{87FCDEDA-E1D0-4C83-9454-0ABC0228C8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53"/>
              </a:ext>
            </a:extLst>
          </a:blip>
          <a:stretch>
            <a:fillRect/>
          </a:stretch>
        </p:blipFill>
        <p:spPr>
          <a:xfrm>
            <a:off x="10599175" y="1219923"/>
            <a:ext cx="706446" cy="74129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62130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 62">
            <a:extLst>
              <a:ext uri="{FF2B5EF4-FFF2-40B4-BE49-F238E27FC236}">
                <a16:creationId xmlns:a16="http://schemas.microsoft.com/office/drawing/2014/main" id="{1369F465-6771-AB41-8A73-EDB0E199D779}"/>
              </a:ext>
            </a:extLst>
          </p:cNvPr>
          <p:cNvSpPr/>
          <p:nvPr/>
        </p:nvSpPr>
        <p:spPr>
          <a:xfrm>
            <a:off x="312480" y="1724815"/>
            <a:ext cx="1910077" cy="442603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465670">
              <a:defRPr/>
            </a:pPr>
            <a:endParaRPr lang="ru-RU" sz="2400" b="1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65AAA8C-3B28-494A-8F90-EF64DDDF70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2025" y="66263"/>
            <a:ext cx="10907922" cy="825499"/>
          </a:xfrm>
        </p:spPr>
        <p:txBody>
          <a:bodyPr>
            <a:noAutofit/>
          </a:bodyPr>
          <a:lstStyle/>
          <a:p>
            <a:r>
              <a:rPr lang="ru-RU" sz="2800" dirty="0"/>
              <a:t>П</a:t>
            </a:r>
            <a:r>
              <a:rPr lang="ru-RU" sz="2800" dirty="0" smtClean="0"/>
              <a:t>лан </a:t>
            </a:r>
            <a:r>
              <a:rPr lang="ru-RU" sz="2800" dirty="0"/>
              <a:t>мероприятий по </a:t>
            </a:r>
            <a:r>
              <a:rPr lang="ru-RU" sz="2800" dirty="0" smtClean="0"/>
              <a:t>выполнению комплексных кадастровых работ</a:t>
            </a:r>
            <a:endParaRPr lang="ru-RU" sz="2800" b="0" i="1" dirty="0"/>
          </a:p>
        </p:txBody>
      </p:sp>
      <p:sp>
        <p:nvSpPr>
          <p:cNvPr id="36" name="Slide Number Placeholder 6">
            <a:extLst>
              <a:ext uri="{FF2B5EF4-FFF2-40B4-BE49-F238E27FC236}">
                <a16:creationId xmlns:a16="http://schemas.microsoft.com/office/drawing/2014/main" id="{49AA9F89-8FE7-453C-8FBE-FAF4AE20A96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auto">
          <a:xfrm>
            <a:off x="7874675" y="6248370"/>
            <a:ext cx="3657600" cy="486833"/>
          </a:xfrm>
        </p:spPr>
        <p:txBody>
          <a:bodyPr/>
          <a:lstStyle/>
          <a:p>
            <a:pPr defTabSz="465670">
              <a:defRPr/>
            </a:pPr>
            <a:fld id="{35ACA335-37F7-42C7-872A-92C3D7072F89}" type="slidenum">
              <a:rPr lang="ru-RU">
                <a:solidFill>
                  <a:srgbClr val="FFFFFF"/>
                </a:solidFill>
                <a:latin typeface="Arial"/>
              </a:rPr>
              <a:pPr defTabSz="465670">
                <a:defRPr/>
              </a:pPr>
              <a:t>7</a:t>
            </a:fld>
            <a:endParaRPr lang="ru-RU" dirty="0">
              <a:solidFill>
                <a:srgbClr val="FFFFFF"/>
              </a:solidFill>
              <a:latin typeface="Arial"/>
            </a:endParaRPr>
          </a:p>
        </p:txBody>
      </p:sp>
      <p:graphicFrame>
        <p:nvGraphicFramePr>
          <p:cNvPr id="14" name="Таблица 14">
            <a:extLst>
              <a:ext uri="{FF2B5EF4-FFF2-40B4-BE49-F238E27FC236}">
                <a16:creationId xmlns:a16="http://schemas.microsoft.com/office/drawing/2014/main" id="{9CF1F5E6-B217-4E30-AEB0-710FEC459B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3238588"/>
              </p:ext>
            </p:extLst>
          </p:nvPr>
        </p:nvGraphicFramePr>
        <p:xfrm>
          <a:off x="0" y="1391298"/>
          <a:ext cx="8534783" cy="44271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3817">
                  <a:extLst>
                    <a:ext uri="{9D8B030D-6E8A-4147-A177-3AD203B41FA5}">
                      <a16:colId xmlns:a16="http://schemas.microsoft.com/office/drawing/2014/main" val="4125098866"/>
                    </a:ext>
                  </a:extLst>
                </a:gridCol>
                <a:gridCol w="1681630">
                  <a:extLst>
                    <a:ext uri="{9D8B030D-6E8A-4147-A177-3AD203B41FA5}">
                      <a16:colId xmlns:a16="http://schemas.microsoft.com/office/drawing/2014/main" val="2564233766"/>
                    </a:ext>
                  </a:extLst>
                </a:gridCol>
                <a:gridCol w="1449336">
                  <a:extLst>
                    <a:ext uri="{9D8B030D-6E8A-4147-A177-3AD203B41FA5}">
                      <a16:colId xmlns:a16="http://schemas.microsoft.com/office/drawing/2014/main" val="2913307227"/>
                    </a:ext>
                  </a:extLst>
                </a:gridCol>
              </a:tblGrid>
              <a:tr h="345440">
                <a:tc>
                  <a:txBody>
                    <a:bodyPr/>
                    <a:lstStyle/>
                    <a:p>
                      <a:pPr algn="ctr"/>
                      <a:r>
                        <a:rPr lang="ru-RU" sz="1500" dirty="0">
                          <a:latin typeface="+mj-lt"/>
                        </a:rPr>
                        <a:t>Наименование мероприятий </a:t>
                      </a:r>
                    </a:p>
                  </a:txBody>
                  <a:tcPr marL="121920" marR="121920" marT="60960" marB="60960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latin typeface="+mj-lt"/>
                        </a:rPr>
                        <a:t>Сроки</a:t>
                      </a:r>
                      <a:endParaRPr lang="ru-RU" sz="1500" dirty="0">
                        <a:latin typeface="+mj-lt"/>
                      </a:endParaRPr>
                    </a:p>
                  </a:txBody>
                  <a:tcPr marL="121920" marR="121920" marT="60960" marB="6096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9575695"/>
                  </a:ext>
                </a:extLst>
              </a:tr>
              <a:tr h="568960">
                <a:tc>
                  <a:txBody>
                    <a:bodyPr/>
                    <a:lstStyle/>
                    <a:p>
                      <a:pPr algn="ctr"/>
                      <a:r>
                        <a:rPr lang="ru-RU" sz="1500" b="1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Утверждение</a:t>
                      </a:r>
                      <a:r>
                        <a:rPr lang="ru-RU" sz="15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плана мероприятий и создание рабочей группы (ОИВ, ТО </a:t>
                      </a:r>
                      <a:r>
                        <a:rPr lang="ru-RU" sz="1500" b="1" kern="1200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Росреестра</a:t>
                      </a:r>
                      <a:r>
                        <a:rPr lang="ru-RU" sz="1500" b="1" kern="120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ru-RU" sz="1500" b="1" kern="1200" dirty="0">
                        <a:solidFill>
                          <a:schemeClr val="tx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5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до </a:t>
                      </a:r>
                      <a:r>
                        <a:rPr lang="ru-RU" sz="15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ru-RU" sz="1500" b="1" kern="1200" baseline="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 февраля</a:t>
                      </a:r>
                      <a:endParaRPr lang="ru-RU" sz="15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9225953"/>
                  </a:ext>
                </a:extLst>
              </a:tr>
              <a:tr h="792480">
                <a:tc>
                  <a:txBody>
                    <a:bodyPr/>
                    <a:lstStyle/>
                    <a:p>
                      <a:pPr algn="ctr"/>
                      <a:r>
                        <a:rPr lang="ru-RU" sz="1500" b="1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Подготовка конкурсной документации, проведение конкурса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1 поток: январь-февраль</a:t>
                      </a:r>
                    </a:p>
                  </a:txBody>
                  <a:tcPr marL="121920" marR="121920" marT="60960" marB="6096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2 поток: март-апрель</a:t>
                      </a:r>
                    </a:p>
                    <a:p>
                      <a:pPr algn="ctr"/>
                      <a:endParaRPr lang="ru-RU" sz="1500" b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5589779"/>
                  </a:ext>
                </a:extLst>
              </a:tr>
              <a:tr h="345440">
                <a:tc>
                  <a:txBody>
                    <a:bodyPr/>
                    <a:lstStyle/>
                    <a:p>
                      <a:pPr algn="ctr"/>
                      <a:r>
                        <a:rPr lang="ru-RU" sz="1500" b="1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Заключение контракта 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!!! до </a:t>
                      </a:r>
                      <a:r>
                        <a:rPr lang="ru-RU" sz="15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9 </a:t>
                      </a:r>
                      <a:r>
                        <a:rPr lang="ru-RU" sz="15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марта </a:t>
                      </a:r>
                    </a:p>
                  </a:txBody>
                  <a:tcPr marL="121920" marR="121920" marT="60960" marB="6096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!!! до </a:t>
                      </a:r>
                      <a:r>
                        <a:rPr lang="ru-RU" sz="15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2 </a:t>
                      </a:r>
                      <a:r>
                        <a:rPr lang="ru-RU" sz="15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мая</a:t>
                      </a:r>
                    </a:p>
                  </a:txBody>
                  <a:tcPr marL="121920" marR="121920" marT="60960" marB="6096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284237"/>
                  </a:ext>
                </a:extLst>
              </a:tr>
              <a:tr h="568960">
                <a:tc>
                  <a:txBody>
                    <a:bodyPr/>
                    <a:lstStyle/>
                    <a:p>
                      <a:pPr algn="ctr"/>
                      <a:r>
                        <a:rPr lang="ru-RU" sz="1500" b="1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Разработка проекта карты-плана территории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июнь </a:t>
                      </a:r>
                    </a:p>
                  </a:txBody>
                  <a:tcPr marL="121920" marR="121920" marT="60960" marB="6096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август</a:t>
                      </a:r>
                    </a:p>
                    <a:p>
                      <a:pPr algn="ctr"/>
                      <a:endParaRPr lang="ru-RU" sz="1500" b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4203150"/>
                  </a:ext>
                </a:extLst>
              </a:tr>
              <a:tr h="601937">
                <a:tc>
                  <a:txBody>
                    <a:bodyPr/>
                    <a:lstStyle/>
                    <a:p>
                      <a:pPr algn="ctr"/>
                      <a:r>
                        <a:rPr lang="ru-RU" sz="1500" b="1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Согласование местоположения границ ЗУ согласительной комиссией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август</a:t>
                      </a:r>
                    </a:p>
                  </a:txBody>
                  <a:tcPr marL="121920" marR="121920" marT="60960" marB="6096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сентябрь</a:t>
                      </a:r>
                    </a:p>
                    <a:p>
                      <a:pPr algn="ctr"/>
                      <a:endParaRPr lang="ru-RU" sz="1500" b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2784880"/>
                  </a:ext>
                </a:extLst>
              </a:tr>
              <a:tr h="568960">
                <a:tc>
                  <a:txBody>
                    <a:bodyPr/>
                    <a:lstStyle/>
                    <a:p>
                      <a:pPr algn="ctr"/>
                      <a:r>
                        <a:rPr lang="ru-RU" sz="1500" b="1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Утверждение карты-плана территории и предоставление в орган регистрации прав 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сентябрь</a:t>
                      </a:r>
                    </a:p>
                  </a:txBody>
                  <a:tcPr marL="121920" marR="121920" marT="60960" marB="6096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октябрь</a:t>
                      </a:r>
                    </a:p>
                    <a:p>
                      <a:pPr algn="ctr"/>
                      <a:endParaRPr lang="ru-RU" sz="1500" b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4467997"/>
                  </a:ext>
                </a:extLst>
              </a:tr>
              <a:tr h="568960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Внесение сведений в ЕГРН</a:t>
                      </a:r>
                    </a:p>
                  </a:txBody>
                  <a:tcPr marL="121920" marR="121920" marT="60960" marB="6096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октябрь </a:t>
                      </a:r>
                    </a:p>
                  </a:txBody>
                  <a:tcPr marL="121920" marR="121920" marT="60960" marB="6096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ноябрь</a:t>
                      </a:r>
                    </a:p>
                    <a:p>
                      <a:pPr algn="ctr"/>
                      <a:endParaRPr lang="ru-RU" sz="1500" b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3573563"/>
                  </a:ext>
                </a:extLst>
              </a:tr>
            </a:tbl>
          </a:graphicData>
        </a:graphic>
      </p:graphicFrame>
      <p:graphicFrame>
        <p:nvGraphicFramePr>
          <p:cNvPr id="27" name="Схема 26">
            <a:extLst>
              <a:ext uri="{FF2B5EF4-FFF2-40B4-BE49-F238E27FC236}">
                <a16:creationId xmlns:a16="http://schemas.microsoft.com/office/drawing/2014/main" id="{F9ED7201-196C-4220-A654-0DD97151531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5199100"/>
              </p:ext>
            </p:extLst>
          </p:nvPr>
        </p:nvGraphicFramePr>
        <p:xfrm>
          <a:off x="8569486" y="1087632"/>
          <a:ext cx="3439357" cy="52179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8" name="Прямоугольник: скругленные углы 27">
            <a:extLst>
              <a:ext uri="{FF2B5EF4-FFF2-40B4-BE49-F238E27FC236}">
                <a16:creationId xmlns:a16="http://schemas.microsoft.com/office/drawing/2014/main" id="{2A7C8381-C98C-4182-B69F-A140D09FF6D5}"/>
              </a:ext>
            </a:extLst>
          </p:cNvPr>
          <p:cNvSpPr/>
          <p:nvPr/>
        </p:nvSpPr>
        <p:spPr>
          <a:xfrm>
            <a:off x="8990506" y="1088706"/>
            <a:ext cx="2324373" cy="439636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867" dirty="0">
                <a:solidFill>
                  <a:srgbClr val="0070C0"/>
                </a:solidFill>
              </a:rPr>
              <a:t>ОТЧЕТЫ</a:t>
            </a:r>
          </a:p>
        </p:txBody>
      </p:sp>
      <p:pic>
        <p:nvPicPr>
          <p:cNvPr id="44" name="Graphic 35">
            <a:extLst>
              <a:ext uri="{FF2B5EF4-FFF2-40B4-BE49-F238E27FC236}">
                <a16:creationId xmlns:a16="http://schemas.microsoft.com/office/drawing/2014/main" id="{A89E6725-E7FE-4DFE-8D04-4FD1E8DCBA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314878" y="829698"/>
            <a:ext cx="853260" cy="802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265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03154E12-6468-C50E-16F4-5A2E81E97044}"/>
              </a:ext>
            </a:extLst>
          </p:cNvPr>
          <p:cNvSpPr/>
          <p:nvPr/>
        </p:nvSpPr>
        <p:spPr>
          <a:xfrm>
            <a:off x="7222070" y="1270766"/>
            <a:ext cx="3854246" cy="1165413"/>
          </a:xfrm>
          <a:prstGeom prst="roundRect">
            <a:avLst/>
          </a:prstGeom>
          <a:solidFill>
            <a:srgbClr val="1890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</a:rPr>
              <a:t>СРОК ПРЕДОСТАВЛЕНИЯ ЗАЯВКИ</a:t>
            </a:r>
          </a:p>
          <a:p>
            <a:pPr algn="ctr"/>
            <a:r>
              <a:rPr lang="ru-RU" sz="2400" b="1" dirty="0" smtClean="0">
                <a:solidFill>
                  <a:schemeClr val="bg1"/>
                </a:solidFill>
              </a:rPr>
              <a:t>до 1 апреля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17439" y="6435935"/>
            <a:ext cx="2743200" cy="365125"/>
          </a:xfrm>
        </p:spPr>
        <p:txBody>
          <a:bodyPr/>
          <a:lstStyle/>
          <a:p>
            <a:fld id="{48F63A3B-78C7-47BE-AE5E-E10140E04643}" type="slidenum">
              <a:rPr lang="en-US" smtClean="0"/>
              <a:t>8</a:t>
            </a:fld>
            <a:endParaRPr lang="en-US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800" dirty="0" smtClean="0"/>
              <a:t>Условия и критерии отбора заявок на предоставление субсидий</a:t>
            </a:r>
            <a:endParaRPr lang="ru-RU" sz="2800" dirty="0"/>
          </a:p>
        </p:txBody>
      </p:sp>
      <p:sp>
        <p:nvSpPr>
          <p:cNvPr id="8" name="Текст 23">
            <a:extLst>
              <a:ext uri="{FF2B5EF4-FFF2-40B4-BE49-F238E27FC236}">
                <a16:creationId xmlns:a16="http://schemas.microsoft.com/office/drawing/2014/main" id="{2941C6C9-260D-48B6-B54A-A565B5D70385}"/>
              </a:ext>
            </a:extLst>
          </p:cNvPr>
          <p:cNvSpPr txBox="1">
            <a:spLocks noGrp="1"/>
          </p:cNvSpPr>
          <p:nvPr>
            <p:ph sz="half" idx="2"/>
          </p:nvPr>
        </p:nvSpPr>
        <p:spPr>
          <a:xfrm>
            <a:off x="317948" y="1454413"/>
            <a:ext cx="6441823" cy="4526010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171450" indent="-171450" algn="l" defTabSz="685800" rtl="0" eaLnBrk="1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5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2000" dirty="0">
                <a:solidFill>
                  <a:srgbClr val="002060"/>
                </a:solidFill>
              </a:rPr>
              <a:t>Наличие в бюджете субъекта РФ бюджетных ассигнований для </a:t>
            </a:r>
            <a:r>
              <a:rPr lang="ru-RU" sz="2000" b="1" dirty="0" err="1">
                <a:solidFill>
                  <a:srgbClr val="00CC99"/>
                </a:solidFill>
              </a:rPr>
              <a:t>софинансирования</a:t>
            </a:r>
            <a:r>
              <a:rPr lang="ru-RU" sz="2000" dirty="0">
                <a:solidFill>
                  <a:srgbClr val="002060"/>
                </a:solidFill>
              </a:rPr>
              <a:t> субсидии 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2000" dirty="0">
                <a:solidFill>
                  <a:srgbClr val="002060"/>
                </a:solidFill>
              </a:rPr>
              <a:t>Наличие правовых актов субъекта </a:t>
            </a:r>
            <a:r>
              <a:rPr lang="ru-RU" sz="2000" dirty="0" smtClean="0">
                <a:solidFill>
                  <a:srgbClr val="002060"/>
                </a:solidFill>
              </a:rPr>
              <a:t>РФ, </a:t>
            </a:r>
            <a:r>
              <a:rPr lang="ru-RU" sz="2000" dirty="0">
                <a:solidFill>
                  <a:srgbClr val="002060"/>
                </a:solidFill>
              </a:rPr>
              <a:t>утверждающих </a:t>
            </a:r>
            <a:r>
              <a:rPr lang="ru-RU" sz="2000" b="1" dirty="0">
                <a:solidFill>
                  <a:srgbClr val="00CC99"/>
                </a:solidFill>
              </a:rPr>
              <a:t>перечень мероприятий </a:t>
            </a:r>
            <a:r>
              <a:rPr lang="ru-RU" sz="2000" dirty="0">
                <a:solidFill>
                  <a:srgbClr val="002060"/>
                </a:solidFill>
              </a:rPr>
              <a:t>по </a:t>
            </a:r>
            <a:r>
              <a:rPr lang="ru-RU" sz="2000" dirty="0" smtClean="0">
                <a:solidFill>
                  <a:srgbClr val="002060"/>
                </a:solidFill>
              </a:rPr>
              <a:t>ККР </a:t>
            </a:r>
            <a:br>
              <a:rPr lang="ru-RU" sz="2000" dirty="0" smtClean="0">
                <a:solidFill>
                  <a:srgbClr val="002060"/>
                </a:solidFill>
              </a:rPr>
            </a:br>
            <a:r>
              <a:rPr lang="ru-RU" sz="2000" dirty="0" smtClean="0">
                <a:solidFill>
                  <a:srgbClr val="002060"/>
                </a:solidFill>
              </a:rPr>
              <a:t>и </a:t>
            </a:r>
            <a:r>
              <a:rPr lang="ru-RU" sz="2000" b="1" dirty="0" smtClean="0">
                <a:solidFill>
                  <a:srgbClr val="00CC99"/>
                </a:solidFill>
              </a:rPr>
              <a:t>состав кадастровых кварталов</a:t>
            </a:r>
            <a:r>
              <a:rPr lang="ru-RU" sz="2000" dirty="0" smtClean="0">
                <a:solidFill>
                  <a:srgbClr val="002060"/>
                </a:solidFill>
              </a:rPr>
              <a:t>, планируемых к ККР</a:t>
            </a:r>
            <a:endParaRPr lang="ru-RU" sz="2000" dirty="0">
              <a:solidFill>
                <a:srgbClr val="002060"/>
              </a:solidFill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2000" dirty="0">
                <a:solidFill>
                  <a:srgbClr val="002060"/>
                </a:solidFill>
              </a:rPr>
              <a:t> Не менее </a:t>
            </a:r>
            <a:r>
              <a:rPr lang="ru-RU" sz="2000" b="1" dirty="0">
                <a:solidFill>
                  <a:srgbClr val="00CC99"/>
                </a:solidFill>
              </a:rPr>
              <a:t>80 %</a:t>
            </a:r>
            <a:r>
              <a:rPr lang="ru-RU" sz="2000" dirty="0">
                <a:solidFill>
                  <a:srgbClr val="002060"/>
                </a:solidFill>
              </a:rPr>
              <a:t> кадастровых кварталов должны быть расположены в </a:t>
            </a:r>
            <a:r>
              <a:rPr lang="ru-RU" sz="2000" dirty="0" smtClean="0">
                <a:solidFill>
                  <a:srgbClr val="002060"/>
                </a:solidFill>
              </a:rPr>
              <a:t>границах </a:t>
            </a:r>
            <a:r>
              <a:rPr lang="ru-RU" sz="2000" b="1" dirty="0" smtClean="0">
                <a:solidFill>
                  <a:srgbClr val="00CC99"/>
                </a:solidFill>
              </a:rPr>
              <a:t>перспективных</a:t>
            </a:r>
            <a:r>
              <a:rPr lang="ru-RU" sz="2000" dirty="0" smtClean="0">
                <a:solidFill>
                  <a:srgbClr val="002060"/>
                </a:solidFill>
              </a:rPr>
              <a:t> </a:t>
            </a:r>
            <a:r>
              <a:rPr lang="ru-RU" sz="2000" b="1" dirty="0" smtClean="0">
                <a:solidFill>
                  <a:srgbClr val="00CC99"/>
                </a:solidFill>
              </a:rPr>
              <a:t>центров экономического роста</a:t>
            </a:r>
            <a:endParaRPr lang="ru-RU" sz="2000" b="1" dirty="0">
              <a:solidFill>
                <a:srgbClr val="00CC99"/>
              </a:solidFill>
            </a:endParaRP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2000" dirty="0">
                <a:solidFill>
                  <a:srgbClr val="002060"/>
                </a:solidFill>
              </a:rPr>
              <a:t>Количество ОН в границах кварталов, должно превышать </a:t>
            </a:r>
            <a:r>
              <a:rPr lang="ru-RU" sz="2000" b="1" dirty="0">
                <a:solidFill>
                  <a:srgbClr val="00CC99"/>
                </a:solidFill>
              </a:rPr>
              <a:t>минимальный предел</a:t>
            </a:r>
          </a:p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ru-RU" sz="2000" dirty="0">
              <a:solidFill>
                <a:srgbClr val="002060"/>
              </a:solidFill>
            </a:endParaRPr>
          </a:p>
          <a:p>
            <a:pPr algn="ctr">
              <a:buFont typeface="Wingdings" panose="05000000000000000000" pitchFamily="2" charset="2"/>
              <a:buChar char="ü"/>
            </a:pPr>
            <a:endParaRPr lang="ru-RU" sz="2000" dirty="0">
              <a:solidFill>
                <a:srgbClr val="002060"/>
              </a:solidFill>
            </a:endParaRPr>
          </a:p>
          <a:p>
            <a:pPr algn="ctr">
              <a:buFont typeface="Wingdings" panose="05000000000000000000" pitchFamily="2" charset="2"/>
              <a:buChar char="ü"/>
            </a:pPr>
            <a:endParaRPr lang="ru-RU" sz="2000" dirty="0">
              <a:solidFill>
                <a:srgbClr val="002060"/>
              </a:solidFill>
            </a:endParaRPr>
          </a:p>
          <a:p>
            <a:pPr marL="0" indent="0" algn="ctr">
              <a:buNone/>
            </a:pPr>
            <a:r>
              <a:rPr lang="ru-RU" sz="2000" dirty="0">
                <a:solidFill>
                  <a:srgbClr val="002060"/>
                </a:solidFill>
              </a:rPr>
              <a:t> 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7685711" y="2982059"/>
            <a:ext cx="339060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 smtClean="0">
                <a:solidFill>
                  <a:srgbClr val="007AFF"/>
                </a:solidFill>
              </a:rPr>
              <a:t>Чем больше ОН в заявке, </a:t>
            </a:r>
          </a:p>
          <a:p>
            <a:r>
              <a:rPr lang="ru-RU" sz="1800" b="1" dirty="0" smtClean="0">
                <a:solidFill>
                  <a:srgbClr val="007AFF"/>
                </a:solidFill>
              </a:rPr>
              <a:t>тем выше сумма субсидии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7472169" y="5091858"/>
            <a:ext cx="4280811" cy="6669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67" b="1" dirty="0">
                <a:solidFill>
                  <a:schemeClr val="bg1"/>
                </a:solidFill>
              </a:rPr>
              <a:t>Подготовлен проект </a:t>
            </a:r>
            <a:r>
              <a:rPr lang="ru-RU" sz="1867" b="1" dirty="0" smtClean="0">
                <a:solidFill>
                  <a:schemeClr val="bg1"/>
                </a:solidFill>
              </a:rPr>
              <a:t/>
            </a:r>
            <a:br>
              <a:rPr lang="ru-RU" sz="1867" b="1" dirty="0" smtClean="0">
                <a:solidFill>
                  <a:schemeClr val="bg1"/>
                </a:solidFill>
              </a:rPr>
            </a:br>
            <a:r>
              <a:rPr lang="ru-RU" sz="1867" b="1" dirty="0" smtClean="0">
                <a:solidFill>
                  <a:schemeClr val="bg1"/>
                </a:solidFill>
              </a:rPr>
              <a:t>о расширении критерия отбора</a:t>
            </a:r>
            <a:endParaRPr lang="ru-RU" sz="1867" b="1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289193" y="4004509"/>
            <a:ext cx="5060774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800" b="1" dirty="0" smtClean="0">
                <a:solidFill>
                  <a:srgbClr val="00B0F0"/>
                </a:solidFill>
              </a:rPr>
              <a:t>ВАЖНО! </a:t>
            </a:r>
            <a:r>
              <a:rPr lang="ru-RU" sz="1800" dirty="0" smtClean="0">
                <a:solidFill>
                  <a:srgbClr val="002060"/>
                </a:solidFill>
              </a:rPr>
              <a:t>Обоснованно </a:t>
            </a:r>
            <a:r>
              <a:rPr lang="ru-RU" sz="1800" dirty="0">
                <a:solidFill>
                  <a:srgbClr val="002060"/>
                </a:solidFill>
              </a:rPr>
              <a:t>подходить к определению </a:t>
            </a:r>
            <a:r>
              <a:rPr lang="ru-RU" sz="1800" b="1" dirty="0">
                <a:solidFill>
                  <a:schemeClr val="accent2"/>
                </a:solidFill>
              </a:rPr>
              <a:t>НМЦК </a:t>
            </a:r>
            <a:r>
              <a:rPr lang="ru-RU" sz="1800" dirty="0">
                <a:solidFill>
                  <a:srgbClr val="002060"/>
                </a:solidFill>
              </a:rPr>
              <a:t>с учетом </a:t>
            </a:r>
            <a:r>
              <a:rPr lang="ru-RU" sz="1800" dirty="0" smtClean="0">
                <a:solidFill>
                  <a:srgbClr val="002060"/>
                </a:solidFill>
              </a:rPr>
              <a:t>стоимости </a:t>
            </a:r>
            <a:r>
              <a:rPr lang="ru-RU" sz="1800" dirty="0">
                <a:solidFill>
                  <a:srgbClr val="002060"/>
                </a:solidFill>
              </a:rPr>
              <a:t>работ за один объект </a:t>
            </a:r>
            <a:r>
              <a:rPr lang="ru-RU" sz="1800" dirty="0" smtClean="0">
                <a:solidFill>
                  <a:srgbClr val="002060"/>
                </a:solidFill>
              </a:rPr>
              <a:t>по результатам контрактов за предыдущие ККР</a:t>
            </a:r>
            <a:endParaRPr lang="ru-RU" sz="1800" dirty="0">
              <a:solidFill>
                <a:srgbClr val="002060"/>
              </a:solidFill>
            </a:endParaRPr>
          </a:p>
        </p:txBody>
      </p:sp>
      <p:pic>
        <p:nvPicPr>
          <p:cNvPr id="14" name="Graphic 363">
            <a:extLst>
              <a:ext uri="{FF2B5EF4-FFF2-40B4-BE49-F238E27FC236}">
                <a16:creationId xmlns:a16="http://schemas.microsoft.com/office/drawing/2014/main" id="{5BF9E350-ED27-4F3F-BF04-5516C8DE38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7449104" y="1922018"/>
            <a:ext cx="473213" cy="47741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7000"/>
              </a:prstClr>
            </a:outerShdw>
          </a:effectLst>
        </p:spPr>
      </p:pic>
      <p:sp>
        <p:nvSpPr>
          <p:cNvPr id="16" name="Freeform: Shape 6">
            <a:extLst>
              <a:ext uri="{FF2B5EF4-FFF2-40B4-BE49-F238E27FC236}">
                <a16:creationId xmlns:a16="http://schemas.microsoft.com/office/drawing/2014/main" id="{85220B04-FC09-4739-BE54-4E91CE970AD5}"/>
              </a:ext>
            </a:extLst>
          </p:cNvPr>
          <p:cNvSpPr/>
          <p:nvPr/>
        </p:nvSpPr>
        <p:spPr>
          <a:xfrm>
            <a:off x="11540303" y="5095986"/>
            <a:ext cx="85045" cy="599766"/>
          </a:xfrm>
          <a:custGeom>
            <a:avLst/>
            <a:gdLst>
              <a:gd name="connsiteX0" fmla="*/ 9321 w 42749"/>
              <a:gd name="connsiteY0" fmla="*/ 153643 h 235607"/>
              <a:gd name="connsiteX1" fmla="*/ 0 w 42749"/>
              <a:gd name="connsiteY1" fmla="*/ 52393 h 235607"/>
              <a:gd name="connsiteX2" fmla="*/ 0 w 42749"/>
              <a:gd name="connsiteY2" fmla="*/ 51429 h 235607"/>
              <a:gd name="connsiteX3" fmla="*/ 0 w 42749"/>
              <a:gd name="connsiteY3" fmla="*/ 10929 h 235607"/>
              <a:gd name="connsiteX4" fmla="*/ 10929 w 42749"/>
              <a:gd name="connsiteY4" fmla="*/ 0 h 235607"/>
              <a:gd name="connsiteX5" fmla="*/ 31821 w 42749"/>
              <a:gd name="connsiteY5" fmla="*/ 0 h 235607"/>
              <a:gd name="connsiteX6" fmla="*/ 42750 w 42749"/>
              <a:gd name="connsiteY6" fmla="*/ 10929 h 235607"/>
              <a:gd name="connsiteX7" fmla="*/ 42750 w 42749"/>
              <a:gd name="connsiteY7" fmla="*/ 51429 h 235607"/>
              <a:gd name="connsiteX8" fmla="*/ 42750 w 42749"/>
              <a:gd name="connsiteY8" fmla="*/ 52393 h 235607"/>
              <a:gd name="connsiteX9" fmla="*/ 33750 w 42749"/>
              <a:gd name="connsiteY9" fmla="*/ 153643 h 235607"/>
              <a:gd name="connsiteX10" fmla="*/ 23143 w 42749"/>
              <a:gd name="connsiteY10" fmla="*/ 163607 h 235607"/>
              <a:gd name="connsiteX11" fmla="*/ 20571 w 42749"/>
              <a:gd name="connsiteY11" fmla="*/ 163607 h 235607"/>
              <a:gd name="connsiteX12" fmla="*/ 9321 w 42749"/>
              <a:gd name="connsiteY12" fmla="*/ 153643 h 235607"/>
              <a:gd name="connsiteX13" fmla="*/ 1607 w 42749"/>
              <a:gd name="connsiteY13" fmla="*/ 220821 h 235607"/>
              <a:gd name="connsiteX14" fmla="*/ 1607 w 42749"/>
              <a:gd name="connsiteY14" fmla="*/ 208607 h 235607"/>
              <a:gd name="connsiteX15" fmla="*/ 16393 w 42749"/>
              <a:gd name="connsiteY15" fmla="*/ 193821 h 235607"/>
              <a:gd name="connsiteX16" fmla="*/ 26036 w 42749"/>
              <a:gd name="connsiteY16" fmla="*/ 193821 h 235607"/>
              <a:gd name="connsiteX17" fmla="*/ 40821 w 42749"/>
              <a:gd name="connsiteY17" fmla="*/ 208607 h 235607"/>
              <a:gd name="connsiteX18" fmla="*/ 40821 w 42749"/>
              <a:gd name="connsiteY18" fmla="*/ 220821 h 235607"/>
              <a:gd name="connsiteX19" fmla="*/ 26036 w 42749"/>
              <a:gd name="connsiteY19" fmla="*/ 235607 h 235607"/>
              <a:gd name="connsiteX20" fmla="*/ 16393 w 42749"/>
              <a:gd name="connsiteY20" fmla="*/ 235607 h 235607"/>
              <a:gd name="connsiteX21" fmla="*/ 1607 w 42749"/>
              <a:gd name="connsiteY21" fmla="*/ 220821 h 235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2749" h="235607">
                <a:moveTo>
                  <a:pt x="9321" y="153643"/>
                </a:moveTo>
                <a:lnTo>
                  <a:pt x="0" y="52393"/>
                </a:lnTo>
                <a:cubicBezTo>
                  <a:pt x="0" y="52071"/>
                  <a:pt x="0" y="51750"/>
                  <a:pt x="0" y="51429"/>
                </a:cubicBezTo>
                <a:lnTo>
                  <a:pt x="0" y="10929"/>
                </a:lnTo>
                <a:cubicBezTo>
                  <a:pt x="0" y="4821"/>
                  <a:pt x="4821" y="0"/>
                  <a:pt x="10929" y="0"/>
                </a:cubicBezTo>
                <a:lnTo>
                  <a:pt x="31821" y="0"/>
                </a:lnTo>
                <a:cubicBezTo>
                  <a:pt x="37929" y="0"/>
                  <a:pt x="42750" y="4821"/>
                  <a:pt x="42750" y="10929"/>
                </a:cubicBezTo>
                <a:lnTo>
                  <a:pt x="42750" y="51429"/>
                </a:lnTo>
                <a:cubicBezTo>
                  <a:pt x="42750" y="51750"/>
                  <a:pt x="42750" y="52071"/>
                  <a:pt x="42750" y="52393"/>
                </a:cubicBezTo>
                <a:lnTo>
                  <a:pt x="33750" y="153643"/>
                </a:lnTo>
                <a:cubicBezTo>
                  <a:pt x="33107" y="159107"/>
                  <a:pt x="28607" y="163607"/>
                  <a:pt x="23143" y="163607"/>
                </a:cubicBezTo>
                <a:lnTo>
                  <a:pt x="20571" y="163607"/>
                </a:lnTo>
                <a:cubicBezTo>
                  <a:pt x="14464" y="163607"/>
                  <a:pt x="9643" y="159107"/>
                  <a:pt x="9321" y="153643"/>
                </a:cubicBezTo>
                <a:close/>
                <a:moveTo>
                  <a:pt x="1607" y="220821"/>
                </a:moveTo>
                <a:lnTo>
                  <a:pt x="1607" y="208607"/>
                </a:lnTo>
                <a:cubicBezTo>
                  <a:pt x="1607" y="200250"/>
                  <a:pt x="8357" y="193821"/>
                  <a:pt x="16393" y="193821"/>
                </a:cubicBezTo>
                <a:lnTo>
                  <a:pt x="26036" y="193821"/>
                </a:lnTo>
                <a:cubicBezTo>
                  <a:pt x="34393" y="193821"/>
                  <a:pt x="40821" y="200571"/>
                  <a:pt x="40821" y="208607"/>
                </a:cubicBezTo>
                <a:lnTo>
                  <a:pt x="40821" y="220821"/>
                </a:lnTo>
                <a:cubicBezTo>
                  <a:pt x="40821" y="229179"/>
                  <a:pt x="34071" y="235607"/>
                  <a:pt x="26036" y="235607"/>
                </a:cubicBezTo>
                <a:lnTo>
                  <a:pt x="16393" y="235607"/>
                </a:lnTo>
                <a:cubicBezTo>
                  <a:pt x="8357" y="235607"/>
                  <a:pt x="1607" y="229179"/>
                  <a:pt x="1607" y="220821"/>
                </a:cubicBezTo>
                <a:close/>
              </a:path>
            </a:pathLst>
          </a:custGeom>
          <a:solidFill>
            <a:schemeClr val="bg1"/>
          </a:solidFill>
          <a:ln w="3151" cap="flat">
            <a:noFill/>
            <a:prstDash val="solid"/>
            <a:miter/>
          </a:ln>
        </p:spPr>
        <p:txBody>
          <a:bodyPr lIns="91440" tIns="45720" rIns="91440" bIns="45720" rtlCol="0" anchor="ctr"/>
          <a:lstStyle/>
          <a:p>
            <a:endParaRPr lang="ru-RU" sz="1244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6711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9</a:t>
            </a:fld>
            <a:endParaRPr lang="en-US" dirty="0"/>
          </a:p>
        </p:txBody>
      </p:sp>
      <p:sp>
        <p:nvSpPr>
          <p:cNvPr id="5" name="Заголовок 2"/>
          <p:cNvSpPr>
            <a:spLocks noGrp="1"/>
          </p:cNvSpPr>
          <p:nvPr>
            <p:ph type="title"/>
          </p:nvPr>
        </p:nvSpPr>
        <p:spPr>
          <a:xfrm>
            <a:off x="962025" y="3"/>
            <a:ext cx="11433175" cy="825499"/>
          </a:xfrm>
        </p:spPr>
        <p:txBody>
          <a:bodyPr>
            <a:noAutofit/>
          </a:bodyPr>
          <a:lstStyle/>
          <a:p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/>
              <a:t/>
            </a:r>
            <a:br>
              <a:rPr lang="ru-RU" sz="2800" dirty="0"/>
            </a:br>
            <a:r>
              <a:rPr lang="ru-RU" sz="2800" dirty="0" smtClean="0"/>
              <a:t>Правила предоставления субсидии </a:t>
            </a:r>
            <a:r>
              <a:rPr lang="ru-RU" sz="2000" dirty="0" smtClean="0"/>
              <a:t>(ПП РФ </a:t>
            </a:r>
            <a:r>
              <a:rPr lang="ru-RU" sz="2000" dirty="0"/>
              <a:t>от 01.12.2021 № 2148 ) </a:t>
            </a:r>
            <a:r>
              <a:rPr lang="ru-RU" sz="2800" i="1" dirty="0"/>
              <a:t/>
            </a:r>
            <a:br>
              <a:rPr lang="ru-RU" sz="2800" i="1" dirty="0"/>
            </a:br>
            <a:endParaRPr lang="ru-RU" sz="2800" i="1" dirty="0"/>
          </a:p>
        </p:txBody>
      </p:sp>
      <p:sp>
        <p:nvSpPr>
          <p:cNvPr id="7" name="Скругленный прямоугольник 33">
            <a:extLst>
              <a:ext uri="{FF2B5EF4-FFF2-40B4-BE49-F238E27FC236}">
                <a16:creationId xmlns:a16="http://schemas.microsoft.com/office/drawing/2014/main" id="{A74EFB7D-46FD-4939-BA3E-68EA8890A21E}"/>
              </a:ext>
            </a:extLst>
          </p:cNvPr>
          <p:cNvSpPr/>
          <p:nvPr/>
        </p:nvSpPr>
        <p:spPr>
          <a:xfrm>
            <a:off x="3288146" y="2492169"/>
            <a:ext cx="1838036" cy="694377"/>
          </a:xfrm>
          <a:prstGeom prst="roundRect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0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914268">
              <a:defRPr/>
            </a:pPr>
            <a:r>
              <a:rPr lang="ru-RU" sz="5333" dirty="0">
                <a:solidFill>
                  <a:schemeClr val="bg1"/>
                </a:solidFill>
              </a:rPr>
              <a:t>69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31364F3C-E64E-5BE9-6BA9-941121EEFA73}"/>
              </a:ext>
            </a:extLst>
          </p:cNvPr>
          <p:cNvSpPr/>
          <p:nvPr/>
        </p:nvSpPr>
        <p:spPr>
          <a:xfrm>
            <a:off x="2319324" y="937717"/>
            <a:ext cx="172528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20863">
              <a:defRPr/>
            </a:pPr>
            <a:r>
              <a:rPr lang="ru-RU" sz="3200" b="1" dirty="0">
                <a:solidFill>
                  <a:srgbClr val="FF7900"/>
                </a:solidFill>
                <a:latin typeface="Arial Black" panose="020B0A04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024</a:t>
            </a:r>
          </a:p>
        </p:txBody>
      </p:sp>
      <p:sp>
        <p:nvSpPr>
          <p:cNvPr id="9" name="Скругленный прямоугольник 33">
            <a:extLst>
              <a:ext uri="{FF2B5EF4-FFF2-40B4-BE49-F238E27FC236}">
                <a16:creationId xmlns:a16="http://schemas.microsoft.com/office/drawing/2014/main" id="{A74EFB7D-46FD-4939-BA3E-68EA8890A21E}"/>
              </a:ext>
            </a:extLst>
          </p:cNvPr>
          <p:cNvSpPr/>
          <p:nvPr/>
        </p:nvSpPr>
        <p:spPr>
          <a:xfrm>
            <a:off x="3306618" y="3258788"/>
            <a:ext cx="1819564" cy="740557"/>
          </a:xfrm>
          <a:prstGeom prst="roundRect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0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914268">
              <a:defRPr/>
            </a:pPr>
            <a:r>
              <a:rPr lang="ru-RU" sz="5333" dirty="0">
                <a:solidFill>
                  <a:schemeClr val="bg1"/>
                </a:solidFill>
              </a:rPr>
              <a:t>1311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31364F3C-E64E-5BE9-6BA9-941121EEFA73}"/>
              </a:ext>
            </a:extLst>
          </p:cNvPr>
          <p:cNvSpPr/>
          <p:nvPr/>
        </p:nvSpPr>
        <p:spPr>
          <a:xfrm>
            <a:off x="7028874" y="1697135"/>
            <a:ext cx="5163127" cy="2390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20863">
              <a:defRPr/>
            </a:pPr>
            <a:r>
              <a:rPr lang="ru-RU" sz="2400" b="1" dirty="0">
                <a:solidFill>
                  <a:schemeClr val="accent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12.04.2023</a:t>
            </a:r>
            <a:r>
              <a:rPr lang="ru-RU" sz="1867" dirty="0">
                <a:solidFill>
                  <a:schemeClr val="accent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867" b="1" dirty="0">
                <a:solidFill>
                  <a:schemeClr val="accent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расширен</a:t>
            </a:r>
            <a:r>
              <a:rPr lang="ru-RU" sz="1867" dirty="0">
                <a:solidFill>
                  <a:schemeClr val="accent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 критерий отбора </a:t>
            </a:r>
            <a:br>
              <a:rPr lang="ru-RU" sz="1867" dirty="0">
                <a:solidFill>
                  <a:schemeClr val="accent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867" b="1" dirty="0" err="1">
                <a:solidFill>
                  <a:schemeClr val="accent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пп</a:t>
            </a:r>
            <a:r>
              <a:rPr lang="ru-RU" sz="1867" b="1" dirty="0">
                <a:solidFill>
                  <a:schemeClr val="accent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. «б» п. 5 Правил:</a:t>
            </a:r>
          </a:p>
          <a:p>
            <a:pPr defTabSz="620863">
              <a:defRPr/>
            </a:pPr>
            <a:r>
              <a:rPr lang="ru-RU" sz="1867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не менее 80% кадастровых кварталов, планируемых к ККР расположены </a:t>
            </a:r>
            <a:br>
              <a:rPr lang="ru-RU" sz="1867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867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в муниципальных образованиях,</a:t>
            </a:r>
          </a:p>
          <a:p>
            <a:pPr defTabSz="620863">
              <a:defRPr/>
            </a:pPr>
            <a:r>
              <a:rPr lang="ru-RU" sz="1867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предусмотренных </a:t>
            </a:r>
            <a:r>
              <a:rPr lang="ru-RU" sz="1867" dirty="0">
                <a:solidFill>
                  <a:schemeClr val="accent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приложением № 3 </a:t>
            </a:r>
            <a:br>
              <a:rPr lang="ru-RU" sz="1867" dirty="0">
                <a:solidFill>
                  <a:schemeClr val="accent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867" dirty="0">
                <a:solidFill>
                  <a:schemeClr val="accent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и разделом </a:t>
            </a:r>
            <a:r>
              <a:rPr lang="en-US" sz="1867" dirty="0">
                <a:solidFill>
                  <a:schemeClr val="accent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I </a:t>
            </a:r>
            <a:r>
              <a:rPr lang="ru-RU" sz="1867" dirty="0">
                <a:solidFill>
                  <a:schemeClr val="accent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приложения </a:t>
            </a:r>
            <a:r>
              <a:rPr lang="ru-RU" sz="1867" dirty="0" smtClean="0">
                <a:solidFill>
                  <a:schemeClr val="accent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№ 4 </a:t>
            </a:r>
            <a:r>
              <a:rPr lang="ru-RU" sz="1867" dirty="0">
                <a:solidFill>
                  <a:schemeClr val="accent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к Стратегии </a:t>
            </a:r>
            <a:r>
              <a:rPr lang="ru-RU" sz="1333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(утв. распр. ПР РФ от 13.02.2019 № 207-р)</a:t>
            </a:r>
          </a:p>
        </p:txBody>
      </p:sp>
      <p:sp>
        <p:nvSpPr>
          <p:cNvPr id="16" name="Полилиния 36">
            <a:extLst>
              <a:ext uri="{FF2B5EF4-FFF2-40B4-BE49-F238E27FC236}">
                <a16:creationId xmlns:a16="http://schemas.microsoft.com/office/drawing/2014/main" id="{BD7803CA-1F44-4DDB-92C7-80BD46D33879}"/>
              </a:ext>
            </a:extLst>
          </p:cNvPr>
          <p:cNvSpPr/>
          <p:nvPr/>
        </p:nvSpPr>
        <p:spPr>
          <a:xfrm>
            <a:off x="277091" y="2485950"/>
            <a:ext cx="2382981" cy="672887"/>
          </a:xfrm>
          <a:prstGeom prst="homePlate">
            <a:avLst/>
          </a:prstGeom>
          <a:noFill/>
          <a:ln w="19050" cap="flat" cmpd="sng" algn="ctr">
            <a:solidFill>
              <a:schemeClr val="tx2"/>
            </a:solidFill>
            <a:prstDash val="solid"/>
          </a:ln>
          <a:effectLst/>
        </p:spPr>
        <p:txBody>
          <a:bodyPr spcFirstLastPara="0" vert="horz" wrap="square" lIns="86095" tIns="86095" rIns="86095" bIns="86095" numCol="1" spcCol="953" anchor="ctr" anchorCtr="0">
            <a:noAutofit/>
          </a:bodyPr>
          <a:lstStyle/>
          <a:p>
            <a:pPr defTabSz="711146" eaLnBrk="0" hangingPunct="0">
              <a:lnSpc>
                <a:spcPct val="90000"/>
              </a:lnSpc>
              <a:spcAft>
                <a:spcPct val="35000"/>
              </a:spcAft>
            </a:pPr>
            <a:r>
              <a:rPr lang="ru-RU" sz="1956" kern="0" dirty="0">
                <a:solidFill>
                  <a:srgbClr val="002060"/>
                </a:solidFill>
                <a:latin typeface="+mj-lt"/>
                <a:cs typeface="Segoe UI" panose="020B0502040204020203" pitchFamily="34" charset="0"/>
              </a:rPr>
              <a:t>Кол-во заявок </a:t>
            </a:r>
            <a:br>
              <a:rPr lang="ru-RU" sz="1956" kern="0" dirty="0">
                <a:solidFill>
                  <a:srgbClr val="002060"/>
                </a:solidFill>
                <a:latin typeface="+mj-lt"/>
                <a:cs typeface="Segoe UI" panose="020B0502040204020203" pitchFamily="34" charset="0"/>
              </a:rPr>
            </a:br>
            <a:r>
              <a:rPr lang="ru-RU" sz="1956" kern="0" dirty="0">
                <a:solidFill>
                  <a:srgbClr val="002060"/>
                </a:solidFill>
                <a:latin typeface="+mj-lt"/>
                <a:cs typeface="Segoe UI" panose="020B0502040204020203" pitchFamily="34" charset="0"/>
              </a:rPr>
              <a:t>от субъектов РФ</a:t>
            </a:r>
          </a:p>
        </p:txBody>
      </p:sp>
      <p:sp>
        <p:nvSpPr>
          <p:cNvPr id="17" name="Полилиния 36">
            <a:extLst>
              <a:ext uri="{FF2B5EF4-FFF2-40B4-BE49-F238E27FC236}">
                <a16:creationId xmlns:a16="http://schemas.microsoft.com/office/drawing/2014/main" id="{BD7803CA-1F44-4DDB-92C7-80BD46D33879}"/>
              </a:ext>
            </a:extLst>
          </p:cNvPr>
          <p:cNvSpPr/>
          <p:nvPr/>
        </p:nvSpPr>
        <p:spPr>
          <a:xfrm>
            <a:off x="304802" y="3289515"/>
            <a:ext cx="2382981" cy="654413"/>
          </a:xfrm>
          <a:prstGeom prst="homePlate">
            <a:avLst/>
          </a:prstGeom>
          <a:noFill/>
          <a:ln w="19050" cap="flat" cmpd="sng" algn="ctr">
            <a:solidFill>
              <a:schemeClr val="tx2"/>
            </a:solidFill>
            <a:prstDash val="solid"/>
          </a:ln>
          <a:effectLst/>
        </p:spPr>
        <p:txBody>
          <a:bodyPr spcFirstLastPara="0" vert="horz" wrap="square" lIns="86095" tIns="86095" rIns="86095" bIns="86095" numCol="1" spcCol="953" anchor="ctr" anchorCtr="0">
            <a:noAutofit/>
          </a:bodyPr>
          <a:lstStyle/>
          <a:p>
            <a:pPr defTabSz="711146" eaLnBrk="0" hangingPunct="0">
              <a:lnSpc>
                <a:spcPct val="90000"/>
              </a:lnSpc>
              <a:spcAft>
                <a:spcPct val="35000"/>
              </a:spcAft>
            </a:pPr>
            <a:r>
              <a:rPr lang="ru-RU" sz="1956" kern="0" dirty="0">
                <a:solidFill>
                  <a:srgbClr val="002060"/>
                </a:solidFill>
                <a:latin typeface="+mj-lt"/>
                <a:cs typeface="Segoe UI" panose="020B0502040204020203" pitchFamily="34" charset="0"/>
              </a:rPr>
              <a:t>Заявки на общую сумму, млн руб.</a:t>
            </a:r>
          </a:p>
        </p:txBody>
      </p:sp>
      <p:sp>
        <p:nvSpPr>
          <p:cNvPr id="19" name="Полилиния 36">
            <a:extLst>
              <a:ext uri="{FF2B5EF4-FFF2-40B4-BE49-F238E27FC236}">
                <a16:creationId xmlns:a16="http://schemas.microsoft.com/office/drawing/2014/main" id="{BD7803CA-1F44-4DDB-92C7-80BD46D33879}"/>
              </a:ext>
            </a:extLst>
          </p:cNvPr>
          <p:cNvSpPr/>
          <p:nvPr/>
        </p:nvSpPr>
        <p:spPr>
          <a:xfrm>
            <a:off x="277091" y="1673151"/>
            <a:ext cx="2382981" cy="626704"/>
          </a:xfrm>
          <a:prstGeom prst="homePlate">
            <a:avLst/>
          </a:prstGeom>
          <a:noFill/>
          <a:ln w="19050" cap="flat" cmpd="sng" algn="ctr">
            <a:solidFill>
              <a:schemeClr val="tx2"/>
            </a:solidFill>
            <a:prstDash val="solid"/>
          </a:ln>
          <a:effectLst/>
        </p:spPr>
        <p:txBody>
          <a:bodyPr spcFirstLastPara="0" vert="horz" wrap="square" lIns="86095" tIns="86095" rIns="86095" bIns="86095" numCol="1" spcCol="953" anchor="ctr" anchorCtr="0">
            <a:noAutofit/>
          </a:bodyPr>
          <a:lstStyle/>
          <a:p>
            <a:pPr defTabSz="711146" eaLnBrk="0" hangingPunct="0"/>
            <a:r>
              <a:rPr lang="ru-RU" sz="1956" kern="0" dirty="0">
                <a:solidFill>
                  <a:srgbClr val="002060"/>
                </a:solidFill>
                <a:latin typeface="+mj-lt"/>
                <a:cs typeface="Segoe UI" panose="020B0502040204020203" pitchFamily="34" charset="0"/>
              </a:rPr>
              <a:t>Федеральный бюджет, млн руб.</a:t>
            </a:r>
          </a:p>
        </p:txBody>
      </p:sp>
      <p:sp>
        <p:nvSpPr>
          <p:cNvPr id="20" name="Скругленный прямоугольник 33">
            <a:extLst>
              <a:ext uri="{FF2B5EF4-FFF2-40B4-BE49-F238E27FC236}">
                <a16:creationId xmlns:a16="http://schemas.microsoft.com/office/drawing/2014/main" id="{A74EFB7D-46FD-4939-BA3E-68EA8890A21E}"/>
              </a:ext>
            </a:extLst>
          </p:cNvPr>
          <p:cNvSpPr/>
          <p:nvPr/>
        </p:nvSpPr>
        <p:spPr>
          <a:xfrm>
            <a:off x="3269672" y="1679370"/>
            <a:ext cx="1865747" cy="638957"/>
          </a:xfrm>
          <a:prstGeom prst="roundRect">
            <a:avLst/>
          </a:prstGeom>
          <a:gradFill>
            <a:gsLst>
              <a:gs pos="0">
                <a:srgbClr val="007AFF"/>
              </a:gs>
              <a:gs pos="100000">
                <a:srgbClr val="00CC99"/>
              </a:gs>
            </a:gsLst>
            <a:lin ang="0" scaled="0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3" tIns="45716" rIns="91433" bIns="45716" rtlCol="0" anchor="ctr"/>
          <a:lstStyle/>
          <a:p>
            <a:pPr algn="ctr" defTabSz="914268">
              <a:defRPr/>
            </a:pPr>
            <a:r>
              <a:rPr lang="ru-RU" sz="5333" dirty="0">
                <a:solidFill>
                  <a:schemeClr val="bg1"/>
                </a:solidFill>
              </a:rPr>
              <a:t>542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31364F3C-E64E-5BE9-6BA9-941121EEFA73}"/>
              </a:ext>
            </a:extLst>
          </p:cNvPr>
          <p:cNvSpPr/>
          <p:nvPr/>
        </p:nvSpPr>
        <p:spPr>
          <a:xfrm>
            <a:off x="6706596" y="1002371"/>
            <a:ext cx="501434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20863">
              <a:defRPr/>
            </a:pPr>
            <a:r>
              <a:rPr lang="ru-RU" sz="3200" b="1" dirty="0">
                <a:solidFill>
                  <a:srgbClr val="FF7900"/>
                </a:solidFill>
                <a:latin typeface="Arial Black" panose="020B0A040201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РИТЕРИЙ ОТБОРА</a:t>
            </a: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396D9AFE-C821-42BA-ABCF-FF6B7EF1489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1749" y="1721787"/>
            <a:ext cx="735331" cy="735087"/>
          </a:xfrm>
          <a:prstGeom prst="rect">
            <a:avLst/>
          </a:prstGeom>
        </p:spPr>
      </p:pic>
      <p:sp>
        <p:nvSpPr>
          <p:cNvPr id="26" name="Freeform: Shape 6">
            <a:extLst>
              <a:ext uri="{FF2B5EF4-FFF2-40B4-BE49-F238E27FC236}">
                <a16:creationId xmlns:a16="http://schemas.microsoft.com/office/drawing/2014/main" id="{85220B04-FC09-4739-BE54-4E91CE970AD5}"/>
              </a:ext>
            </a:extLst>
          </p:cNvPr>
          <p:cNvSpPr/>
          <p:nvPr/>
        </p:nvSpPr>
        <p:spPr>
          <a:xfrm>
            <a:off x="6459644" y="2556241"/>
            <a:ext cx="273669" cy="1239904"/>
          </a:xfrm>
          <a:custGeom>
            <a:avLst/>
            <a:gdLst>
              <a:gd name="connsiteX0" fmla="*/ 9321 w 42749"/>
              <a:gd name="connsiteY0" fmla="*/ 153643 h 235607"/>
              <a:gd name="connsiteX1" fmla="*/ 0 w 42749"/>
              <a:gd name="connsiteY1" fmla="*/ 52393 h 235607"/>
              <a:gd name="connsiteX2" fmla="*/ 0 w 42749"/>
              <a:gd name="connsiteY2" fmla="*/ 51429 h 235607"/>
              <a:gd name="connsiteX3" fmla="*/ 0 w 42749"/>
              <a:gd name="connsiteY3" fmla="*/ 10929 h 235607"/>
              <a:gd name="connsiteX4" fmla="*/ 10929 w 42749"/>
              <a:gd name="connsiteY4" fmla="*/ 0 h 235607"/>
              <a:gd name="connsiteX5" fmla="*/ 31821 w 42749"/>
              <a:gd name="connsiteY5" fmla="*/ 0 h 235607"/>
              <a:gd name="connsiteX6" fmla="*/ 42750 w 42749"/>
              <a:gd name="connsiteY6" fmla="*/ 10929 h 235607"/>
              <a:gd name="connsiteX7" fmla="*/ 42750 w 42749"/>
              <a:gd name="connsiteY7" fmla="*/ 51429 h 235607"/>
              <a:gd name="connsiteX8" fmla="*/ 42750 w 42749"/>
              <a:gd name="connsiteY8" fmla="*/ 52393 h 235607"/>
              <a:gd name="connsiteX9" fmla="*/ 33750 w 42749"/>
              <a:gd name="connsiteY9" fmla="*/ 153643 h 235607"/>
              <a:gd name="connsiteX10" fmla="*/ 23143 w 42749"/>
              <a:gd name="connsiteY10" fmla="*/ 163607 h 235607"/>
              <a:gd name="connsiteX11" fmla="*/ 20571 w 42749"/>
              <a:gd name="connsiteY11" fmla="*/ 163607 h 235607"/>
              <a:gd name="connsiteX12" fmla="*/ 9321 w 42749"/>
              <a:gd name="connsiteY12" fmla="*/ 153643 h 235607"/>
              <a:gd name="connsiteX13" fmla="*/ 1607 w 42749"/>
              <a:gd name="connsiteY13" fmla="*/ 220821 h 235607"/>
              <a:gd name="connsiteX14" fmla="*/ 1607 w 42749"/>
              <a:gd name="connsiteY14" fmla="*/ 208607 h 235607"/>
              <a:gd name="connsiteX15" fmla="*/ 16393 w 42749"/>
              <a:gd name="connsiteY15" fmla="*/ 193821 h 235607"/>
              <a:gd name="connsiteX16" fmla="*/ 26036 w 42749"/>
              <a:gd name="connsiteY16" fmla="*/ 193821 h 235607"/>
              <a:gd name="connsiteX17" fmla="*/ 40821 w 42749"/>
              <a:gd name="connsiteY17" fmla="*/ 208607 h 235607"/>
              <a:gd name="connsiteX18" fmla="*/ 40821 w 42749"/>
              <a:gd name="connsiteY18" fmla="*/ 220821 h 235607"/>
              <a:gd name="connsiteX19" fmla="*/ 26036 w 42749"/>
              <a:gd name="connsiteY19" fmla="*/ 235607 h 235607"/>
              <a:gd name="connsiteX20" fmla="*/ 16393 w 42749"/>
              <a:gd name="connsiteY20" fmla="*/ 235607 h 235607"/>
              <a:gd name="connsiteX21" fmla="*/ 1607 w 42749"/>
              <a:gd name="connsiteY21" fmla="*/ 220821 h 235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42749" h="235607">
                <a:moveTo>
                  <a:pt x="9321" y="153643"/>
                </a:moveTo>
                <a:lnTo>
                  <a:pt x="0" y="52393"/>
                </a:lnTo>
                <a:cubicBezTo>
                  <a:pt x="0" y="52071"/>
                  <a:pt x="0" y="51750"/>
                  <a:pt x="0" y="51429"/>
                </a:cubicBezTo>
                <a:lnTo>
                  <a:pt x="0" y="10929"/>
                </a:lnTo>
                <a:cubicBezTo>
                  <a:pt x="0" y="4821"/>
                  <a:pt x="4821" y="0"/>
                  <a:pt x="10929" y="0"/>
                </a:cubicBezTo>
                <a:lnTo>
                  <a:pt x="31821" y="0"/>
                </a:lnTo>
                <a:cubicBezTo>
                  <a:pt x="37929" y="0"/>
                  <a:pt x="42750" y="4821"/>
                  <a:pt x="42750" y="10929"/>
                </a:cubicBezTo>
                <a:lnTo>
                  <a:pt x="42750" y="51429"/>
                </a:lnTo>
                <a:cubicBezTo>
                  <a:pt x="42750" y="51750"/>
                  <a:pt x="42750" y="52071"/>
                  <a:pt x="42750" y="52393"/>
                </a:cubicBezTo>
                <a:lnTo>
                  <a:pt x="33750" y="153643"/>
                </a:lnTo>
                <a:cubicBezTo>
                  <a:pt x="33107" y="159107"/>
                  <a:pt x="28607" y="163607"/>
                  <a:pt x="23143" y="163607"/>
                </a:cubicBezTo>
                <a:lnTo>
                  <a:pt x="20571" y="163607"/>
                </a:lnTo>
                <a:cubicBezTo>
                  <a:pt x="14464" y="163607"/>
                  <a:pt x="9643" y="159107"/>
                  <a:pt x="9321" y="153643"/>
                </a:cubicBezTo>
                <a:close/>
                <a:moveTo>
                  <a:pt x="1607" y="220821"/>
                </a:moveTo>
                <a:lnTo>
                  <a:pt x="1607" y="208607"/>
                </a:lnTo>
                <a:cubicBezTo>
                  <a:pt x="1607" y="200250"/>
                  <a:pt x="8357" y="193821"/>
                  <a:pt x="16393" y="193821"/>
                </a:cubicBezTo>
                <a:lnTo>
                  <a:pt x="26036" y="193821"/>
                </a:lnTo>
                <a:cubicBezTo>
                  <a:pt x="34393" y="193821"/>
                  <a:pt x="40821" y="200571"/>
                  <a:pt x="40821" y="208607"/>
                </a:cubicBezTo>
                <a:lnTo>
                  <a:pt x="40821" y="220821"/>
                </a:lnTo>
                <a:cubicBezTo>
                  <a:pt x="40821" y="229179"/>
                  <a:pt x="34071" y="235607"/>
                  <a:pt x="26036" y="235607"/>
                </a:cubicBezTo>
                <a:lnTo>
                  <a:pt x="16393" y="235607"/>
                </a:lnTo>
                <a:cubicBezTo>
                  <a:pt x="8357" y="235607"/>
                  <a:pt x="1607" y="229179"/>
                  <a:pt x="1607" y="220821"/>
                </a:cubicBezTo>
                <a:close/>
              </a:path>
            </a:pathLst>
          </a:custGeom>
          <a:solidFill>
            <a:schemeClr val="accent2"/>
          </a:solidFill>
          <a:ln w="3151" cap="flat">
            <a:noFill/>
            <a:prstDash val="solid"/>
            <a:miter/>
          </a:ln>
        </p:spPr>
        <p:txBody>
          <a:bodyPr lIns="121920" tIns="60960" rIns="121920" bIns="60960" rtlCol="0" anchor="ctr"/>
          <a:lstStyle/>
          <a:p>
            <a:endParaRPr lang="ru-RU" sz="1659">
              <a:solidFill>
                <a:srgbClr val="17A15F"/>
              </a:solidFill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31364F3C-E64E-5BE9-6BA9-941121EEFA73}"/>
              </a:ext>
            </a:extLst>
          </p:cNvPr>
          <p:cNvSpPr/>
          <p:nvPr/>
        </p:nvSpPr>
        <p:spPr>
          <a:xfrm>
            <a:off x="6345383" y="4107823"/>
            <a:ext cx="5569528" cy="16107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20863">
              <a:defRPr/>
            </a:pPr>
            <a:r>
              <a:rPr lang="ru-RU" sz="1867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Добавлены:</a:t>
            </a:r>
          </a:p>
          <a:p>
            <a:pPr marL="228594" indent="-228594" defTabSz="620863">
              <a:buFont typeface="Wingdings" panose="05000000000000000000" pitchFamily="2" charset="2"/>
              <a:buChar char="ü"/>
              <a:defRPr/>
            </a:pPr>
            <a:r>
              <a:rPr lang="ru-RU" sz="1600" b="1" dirty="0">
                <a:solidFill>
                  <a:schemeClr val="accent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минерально-сырьевые и агропромышленные центры</a:t>
            </a:r>
            <a:r>
              <a:rPr lang="ru-RU" sz="1600" dirty="0">
                <a:solidFill>
                  <a:schemeClr val="accent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; </a:t>
            </a:r>
            <a:r>
              <a:rPr lang="ru-RU" sz="1600" b="1" dirty="0">
                <a:solidFill>
                  <a:schemeClr val="accent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научно-образовательные центры </a:t>
            </a: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мирового уровня</a:t>
            </a:r>
          </a:p>
          <a:p>
            <a:pPr marL="228594" indent="-228594" defTabSz="620863">
              <a:buFont typeface="Wingdings" panose="05000000000000000000" pitchFamily="2" charset="2"/>
              <a:buChar char="ü"/>
              <a:defRPr/>
            </a:pPr>
            <a:r>
              <a:rPr lang="ru-RU" sz="1600" b="1" dirty="0">
                <a:solidFill>
                  <a:schemeClr val="accent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геостратегические территории РФ</a:t>
            </a: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, в число которых входит </a:t>
            </a:r>
            <a:r>
              <a:rPr lang="ru-RU" sz="1600" b="1" dirty="0">
                <a:solidFill>
                  <a:schemeClr val="accent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Арктическая зона РФ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31364F3C-E64E-5BE9-6BA9-941121EEFA73}"/>
              </a:ext>
            </a:extLst>
          </p:cNvPr>
          <p:cNvSpPr/>
          <p:nvPr/>
        </p:nvSpPr>
        <p:spPr>
          <a:xfrm>
            <a:off x="166253" y="4227895"/>
            <a:ext cx="5504872" cy="954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20863">
              <a:defRPr/>
            </a:pPr>
            <a:r>
              <a:rPr lang="ru-RU" sz="1867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Количество муниципальных образований, подходящих под критерий отбора </a:t>
            </a:r>
            <a:r>
              <a:rPr lang="ru-RU" sz="1867" b="1" dirty="0">
                <a:solidFill>
                  <a:schemeClr val="accent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увеличилось</a:t>
            </a:r>
            <a:r>
              <a:rPr lang="ru-RU" sz="1867" b="1" dirty="0">
                <a:solidFill>
                  <a:srgbClr val="17A15F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867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в </a:t>
            </a:r>
            <a:r>
              <a:rPr lang="ru-RU" sz="1867" b="1" dirty="0">
                <a:solidFill>
                  <a:schemeClr val="accent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2 раза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31364F3C-E64E-5BE9-6BA9-941121EEFA73}"/>
              </a:ext>
            </a:extLst>
          </p:cNvPr>
          <p:cNvSpPr/>
          <p:nvPr/>
        </p:nvSpPr>
        <p:spPr>
          <a:xfrm>
            <a:off x="219057" y="5368759"/>
            <a:ext cx="4751953" cy="6669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20863">
              <a:defRPr/>
            </a:pPr>
            <a:r>
              <a:rPr lang="ru-RU" sz="1867" b="1" dirty="0">
                <a:solidFill>
                  <a:schemeClr val="accent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Перечень</a:t>
            </a:r>
            <a:r>
              <a:rPr lang="ru-RU" sz="1867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 кадастровых </a:t>
            </a:r>
            <a:r>
              <a:rPr lang="ru-RU" sz="1867" b="1" dirty="0">
                <a:solidFill>
                  <a:schemeClr val="accent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кварталов</a:t>
            </a:r>
            <a:r>
              <a:rPr lang="ru-RU" sz="1867" dirty="0">
                <a:solidFill>
                  <a:schemeClr val="accent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867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может быть </a:t>
            </a:r>
            <a:r>
              <a:rPr lang="ru-RU" sz="1867" b="1" dirty="0">
                <a:solidFill>
                  <a:schemeClr val="accent2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уточнен</a:t>
            </a:r>
            <a:r>
              <a:rPr lang="ru-RU" sz="1867" dirty="0">
                <a:solidFill>
                  <a:srgbClr val="002060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 субъектами РФ</a:t>
            </a:r>
          </a:p>
        </p:txBody>
      </p:sp>
    </p:spTree>
    <p:extLst>
      <p:ext uri="{BB962C8B-B14F-4D97-AF65-F5344CB8AC3E}">
        <p14:creationId xmlns:p14="http://schemas.microsoft.com/office/powerpoint/2010/main" val="19111216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Шаблон">
  <a:themeElements>
    <a:clrScheme name="Другая 1">
      <a:dk1>
        <a:srgbClr val="000000"/>
      </a:dk1>
      <a:lt1>
        <a:srgbClr val="FFFFFF"/>
      </a:lt1>
      <a:dk2>
        <a:srgbClr val="008CFF"/>
      </a:dk2>
      <a:lt2>
        <a:srgbClr val="ECF3FA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4AFFC3"/>
      </a:accent5>
      <a:accent6>
        <a:srgbClr val="FFC000"/>
      </a:accent6>
      <a:hlink>
        <a:srgbClr val="E17900"/>
      </a:hlink>
      <a:folHlink>
        <a:srgbClr val="4C4D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797</TotalTime>
  <Words>1408</Words>
  <Application>Microsoft Office PowerPoint</Application>
  <PresentationFormat>Широкоэкранный</PresentationFormat>
  <Paragraphs>385</Paragraphs>
  <Slides>11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0" baseType="lpstr">
      <vt:lpstr>Arial</vt:lpstr>
      <vt:lpstr>Arial Black</vt:lpstr>
      <vt:lpstr>Calibri</vt:lpstr>
      <vt:lpstr>Segoe UI</vt:lpstr>
      <vt:lpstr>Times New Roman</vt:lpstr>
      <vt:lpstr>Trebuchet MS</vt:lpstr>
      <vt:lpstr>Wingdings</vt:lpstr>
      <vt:lpstr>Шаблон</vt:lpstr>
      <vt:lpstr>think-cell Slide</vt:lpstr>
      <vt:lpstr>Презентация PowerPoint</vt:lpstr>
      <vt:lpstr>Цели проведения комплексных кадастровых работ</vt:lpstr>
      <vt:lpstr> Финансирование комплексных кадастровых работ </vt:lpstr>
      <vt:lpstr>Проведение комплексных кадастровых работ</vt:lpstr>
      <vt:lpstr>Порядок проведения комплексных кадастровых работ</vt:lpstr>
      <vt:lpstr>Закупочные мероприятия на выполнение комплексных кадастровых работ</vt:lpstr>
      <vt:lpstr>План мероприятий по выполнению комплексных кадастровых работ</vt:lpstr>
      <vt:lpstr>Условия и критерии отбора заявок на предоставление субсидий</vt:lpstr>
      <vt:lpstr>  Правила предоставления субсидии (ПП РФ от 01.12.2021 № 2148 )  </vt:lpstr>
      <vt:lpstr>Предложения и рекомендации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Цифровая  трансформация  и реинжиниринг бизнес-процессов</dc:title>
  <dc:creator>Заборских Е.И.</dc:creator>
  <cp:lastModifiedBy>Пеплова Анна Валерьевна</cp:lastModifiedBy>
  <cp:revision>1246</cp:revision>
  <cp:lastPrinted>2023-03-29T14:02:14Z</cp:lastPrinted>
  <dcterms:created xsi:type="dcterms:W3CDTF">2020-12-17T18:43:20Z</dcterms:created>
  <dcterms:modified xsi:type="dcterms:W3CDTF">2023-05-17T10:29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0-12-17T00:00:00Z</vt:filetime>
  </property>
  <property fmtid="{D5CDD505-2E9C-101B-9397-08002B2CF9AE}" pid="3" name="LastSaved">
    <vt:filetime>2020-12-17T00:00:00Z</vt:filetime>
  </property>
  <property fmtid="{D5CDD505-2E9C-101B-9397-08002B2CF9AE}" pid="4" name="NXPowerLiteLastOptimized">
    <vt:lpwstr>53052837</vt:lpwstr>
  </property>
  <property fmtid="{D5CDD505-2E9C-101B-9397-08002B2CF9AE}" pid="5" name="NXPowerLiteSettings">
    <vt:lpwstr>C700052003A000</vt:lpwstr>
  </property>
  <property fmtid="{D5CDD505-2E9C-101B-9397-08002B2CF9AE}" pid="6" name="NXPowerLiteVersion">
    <vt:lpwstr>D8.0.8</vt:lpwstr>
  </property>
</Properties>
</file>